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Layouts/slideLayout307.xml" ContentType="application/vnd.openxmlformats-officedocument.presentationml.slideLayout+xml"/>
  <Override PartName="/ppt/tags/tag238.xml" ContentType="application/vnd.openxmlformats-officedocument.presentationml.tags+xml"/>
  <Override PartName="/ppt/slideLayouts/slideLayout638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739.xml" ContentType="application/vnd.openxmlformats-officedocument.presentationml.slideLayout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ags/tag38.xml" ContentType="application/vnd.openxmlformats-officedocument.presentationml.tags+xml"/>
  <Override PartName="/ppt/slideLayouts/slideLayout578.xml" ContentType="application/vnd.openxmlformats-officedocument.presentationml.slideLayout+xml"/>
  <Override PartName="/ppt/tags/tag339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433.xml" ContentType="application/vnd.openxmlformats-officedocument.presentationml.slideLayout+xml"/>
  <Override PartName="/ppt/tags/tag364.xml" ContentType="application/vnd.openxmlformats-officedocument.presentationml.tags+xml"/>
  <Override PartName="/ppt/slideLayouts/slideLayout764.xml" ContentType="application/vnd.openxmlformats-officedocument.presentationml.slideLayout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slideLayouts/slideLayout272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348.xml" ContentType="application/vnd.openxmlformats-officedocument.presentationml.slideLayout+xml"/>
  <Default Extension="xlsx" ContentType="application/vnd.openxmlformats-officedocument.spreadsheetml.sheet"/>
  <Override PartName="/ppt/tags/tag279.xml" ContentType="application/vnd.openxmlformats-officedocument.presentationml.tags+xml"/>
  <Override PartName="/ppt/slideLayouts/slideLayout679.xml" ContentType="application/vnd.openxmlformats-officedocument.presentationml.slideLayout+xml"/>
  <Override PartName="/ppt/theme/theme32.xml" ContentType="application/vnd.openxmlformats-officedocument.theme+xml"/>
  <Override PartName="/ppt/notesSlides/notesSlide7.xml" ContentType="application/vnd.openxmlformats-officedocument.presentationml.notesSlide+xml"/>
  <Override PartName="/ppt/slideLayouts/slideLayout187.xml" ContentType="application/vnd.openxmlformats-officedocument.presentationml.slideLayout+xml"/>
  <Override PartName="/ppt/tags/tag134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tags/tag320.xml" ContentType="application/vnd.openxmlformats-officedocument.presentationml.tags+xml"/>
  <Override PartName="/ppt/slideLayouts/slideLayout720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79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Masters/slideMaster27.xml" ContentType="application/vnd.openxmlformats-officedocument.presentationml.slideMaster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474.xml" ContentType="application/vnd.openxmlformats-officedocument.presentationml.slideLayout+xml"/>
  <Override PartName="/ppt/tags/tag235.xml" ContentType="application/vnd.openxmlformats-officedocument.presentationml.tags+xml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tags/tag260.xml" ContentType="application/vnd.openxmlformats-officedocument.presentationml.tags+xml"/>
  <Override PartName="/ppt/slideLayouts/slideLayout66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336.xml" ContentType="application/vnd.openxmlformats-officedocument.presentationml.tags+xml"/>
  <Override PartName="/ppt/slideLayouts/slideLayout736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ags/tag175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761.xml" ContentType="application/vnd.openxmlformats-officedocument.presentationml.slideLayout+xml"/>
  <Override PartName="/ppt/tags/tag60.xml" ContentType="application/vnd.openxmlformats-officedocument.presentationml.tags+xml"/>
  <Override PartName="/ppt/slideLayouts/slideLayout506.xml" ContentType="application/vnd.openxmlformats-officedocument.presentationml.slideLayout+xml"/>
  <Override PartName="/ppt/tags/tag361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106.xml" ContentType="application/vnd.openxmlformats-officedocument.presentationml.tags+xml"/>
  <Override PartName="/ppt/slideLayouts/slideLayout345.xml" ContentType="application/vnd.openxmlformats-officedocument.presentationml.slideLayout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131.xml" ContentType="application/vnd.openxmlformats-officedocument.presentationml.tags+xml"/>
  <Override PartName="/ppt/slideLayouts/slideLayout531.xml" ContentType="application/vnd.openxmlformats-officedocument.presentationml.slideLayout+xml"/>
  <Override PartName="/ppt/tags/tag276.xml" ContentType="application/vnd.openxmlformats-officedocument.presentationml.tags+xml"/>
  <Override PartName="/ppt/slideLayouts/slideLayout67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607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ags/tag76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232.xml" ContentType="application/vnd.openxmlformats-officedocument.presentationml.tags+xml"/>
  <Override PartName="/ppt/slideLayouts/slideLayout632.xml" ContentType="application/vnd.openxmlformats-officedocument.presentationml.slideLayout+xml"/>
  <Override PartName="/ppt/tags/tag377.xml" ContentType="application/vnd.openxmlformats-officedocument.presentationml.tags+xml"/>
  <Override PartName="/ppt/slideMasters/slideMaster24.xml" ContentType="application/vnd.openxmlformats-officedocument.presentationml.slideMaster+xml"/>
  <Override PartName="/ppt/slideLayouts/slideLayout471.xml" ContentType="application/vnd.openxmlformats-officedocument.presentationml.slideLayout+xml"/>
  <Override PartName="/ppt/tags/tag308.xml" ContentType="application/vnd.openxmlformats-officedocument.presentationml.tags+xml"/>
  <Override PartName="/ppt/slideLayouts/slideLayout708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ags/tag147.xml" ContentType="application/vnd.openxmlformats-officedocument.presentationml.tags+xml"/>
  <Override PartName="/ppt/slideLayouts/slideLayout402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733.xml" ContentType="application/vnd.openxmlformats-officedocument.presentationml.slideLayout+xml"/>
  <Override PartName="/ppt/tags/tag32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ags/tag33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ags/tag172.xml" ContentType="application/vnd.openxmlformats-officedocument.presentationml.tags+xml"/>
  <Override PartName="/ppt/slideLayouts/slideLayout648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ags/tag103.xml" ContentType="application/vnd.openxmlformats-officedocument.presentationml.tags+xml"/>
  <Override PartName="/ppt/slideLayouts/slideLayout487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342.xml" ContentType="application/vnd.openxmlformats-officedocument.presentationml.slideLayout+xml"/>
  <Override PartName="/ppt/tags/tag273.xml" ContentType="application/vnd.openxmlformats-officedocument.presentationml.tags+xml"/>
  <Override PartName="/ppt/slideLayouts/slideLayout673.xml" ContentType="application/vnd.openxmlformats-officedocument.presentationml.slideLayout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ags/tag48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slideLayouts/slideLayout588.xml" ContentType="application/vnd.openxmlformats-officedocument.presentationml.slideLayout+xml"/>
  <Override PartName="/ppt/slideLayouts/slideLayout604.xml" ContentType="application/vnd.openxmlformats-officedocument.presentationml.slideLayout+xml"/>
  <Override PartName="/ppt/tags/tag349.xml" ContentType="application/vnd.openxmlformats-officedocument.presentationml.tags+xml"/>
  <Override PartName="/ppt/tags/tag73.xml" ContentType="application/vnd.openxmlformats-officedocument.presentationml.tags+xml"/>
  <Override PartName="/ppt/theme/theme17.xml" ContentType="application/vnd.openxmlformats-officedocument.theme+xml"/>
  <Override PartName="/ppt/slideLayouts/slideLayout443.xml" ContentType="application/vnd.openxmlformats-officedocument.presentationml.slideLayout+xml"/>
  <Override PartName="/ppt/tags/tag374.xml" ContentType="application/vnd.openxmlformats-officedocument.presentationml.tags+xml"/>
  <Override PartName="/ppt/slideLayouts/slideLayout774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19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705.xml" ContentType="application/vnd.openxmlformats-officedocument.presentationml.slideLayout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544.xml" ContentType="application/vnd.openxmlformats-officedocument.presentationml.slideLayout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Layouts/slideLayout689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ags/tag144.xml" ContentType="application/vnd.openxmlformats-officedocument.presentationml.tags+xml"/>
  <Override PartName="/ppt/slideLayouts/slideLayout383.xml" ContentType="application/vnd.openxmlformats-officedocument.presentationml.slideLayout+xml"/>
  <Override PartName="/ppt/tags/tag330.xml" ContentType="application/vnd.openxmlformats-officedocument.presentationml.tags+xml"/>
  <Override PartName="/ppt/slideLayouts/slideLayout730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ags/tag245.xml" ContentType="application/vnd.openxmlformats-officedocument.presentationml.tags+xml"/>
  <Override PartName="/ppt/slideLayouts/slideLayout645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484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229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ags/tag27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ags/tag45.xml" ContentType="application/vnd.openxmlformats-officedocument.presentationml.tags+xml"/>
  <Override PartName="/ppt/tags/tag201.xml" ContentType="application/vnd.openxmlformats-officedocument.presentationml.tags+xml"/>
  <Override PartName="/ppt/slideLayouts/slideLayout399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ags/tag346.xml" ContentType="application/vnd.openxmlformats-officedocument.presentationml.tags+xml"/>
  <Override PartName="/ppt/slideLayouts/slideLayout746.xml" ContentType="application/vnd.openxmlformats-officedocument.presentationml.slideLayout+xml"/>
  <Override PartName="/ppt/theme/theme14.xml" ContentType="application/vnd.openxmlformats-officedocument.theme+xml"/>
  <Override PartName="/ppt/tags/tag18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ags/tag371.xml" ContentType="application/vnd.openxmlformats-officedocument.presentationml.tags+xml"/>
  <Override PartName="/ppt/slideLayouts/slideLayout771.xml" ContentType="application/vnd.openxmlformats-officedocument.presentationml.slideLayout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Layouts/slideLayout516.xml" ContentType="application/vnd.openxmlformats-officedocument.presentationml.slideLayout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686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s/slide48.xml" ContentType="application/vnd.openxmlformats-officedocument.presentationml.slide+xml"/>
  <Override PartName="/ppt/slideLayouts/slideLayout194.xml" ContentType="application/vnd.openxmlformats-officedocument.presentationml.slideLayout+xml"/>
  <Override PartName="/ppt/tags/tag141.xml" ContentType="application/vnd.openxmlformats-officedocument.presentationml.tags+xml"/>
  <Override PartName="/ppt/slideLayouts/slideLayout541.xml" ContentType="application/vnd.openxmlformats-officedocument.presentationml.slideLayout+xml"/>
  <Override PartName="/ppt/tags/tag28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617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86.xml" ContentType="application/vnd.openxmlformats-officedocument.presentationml.tags+xml"/>
  <Override PartName="/ppt/slideLayouts/slideLayout311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787.xml" ContentType="application/vnd.openxmlformats-officedocument.presentationml.slideLayout+xml"/>
  <Override PartName="/ppt/tags/tag387.xml" ContentType="application/vnd.openxmlformats-officedocument.presentationml.tags+xml"/>
  <Override PartName="/ppt/slideMasters/slideMaster34.xml" ContentType="application/vnd.openxmlformats-officedocument.presentationml.slideMaster+xml"/>
  <Override PartName="/ppt/slideLayouts/slideLayout150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481.xml" ContentType="application/vnd.openxmlformats-officedocument.presentationml.slideLayout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tags/tag318.xml" ContentType="application/vnd.openxmlformats-officedocument.presentationml.tags+xml"/>
  <Override PartName="/ppt/slideLayouts/slideLayout718.xml" ContentType="application/vnd.openxmlformats-officedocument.presentationml.slideLayout+xml"/>
  <Override PartName="/ppt/slideMasters/slideMaster9.xml" ContentType="application/vnd.openxmlformats-officedocument.presentationml.slideMaster+xml"/>
  <Override PartName="/ppt/tags/tag157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ags/tag343.xml" ContentType="application/vnd.openxmlformats-officedocument.presentationml.tags+xml"/>
  <Override PartName="/ppt/slideLayouts/slideLayout743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slideLayouts/slideLayout582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32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113.xml" ContentType="application/vnd.openxmlformats-officedocument.presentationml.tags+xml"/>
  <Override PartName="/ppt/slideLayouts/slideLayout497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ags/tag258.xml" ContentType="application/vnd.openxmlformats-officedocument.presentationml.tags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slideLayouts/slideLayout352.xml" ContentType="application/vnd.openxmlformats-officedocument.presentationml.slideLayout+xml"/>
  <Override PartName="/ppt/tags/tag283.xml" ContentType="application/vnd.openxmlformats-officedocument.presentationml.tags+xml"/>
  <Override PartName="/ppt/slideLayouts/slideLayout68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58.xml" ContentType="application/vnd.openxmlformats-officedocument.presentationml.tags+xml"/>
  <Override PartName="/ppt/slideLayouts/slideLayout428.xml" ContentType="application/vnd.openxmlformats-officedocument.presentationml.slideLayout+xml"/>
  <Override PartName="/ppt/slideLayouts/slideLayout614.xml" ContentType="application/vnd.openxmlformats-officedocument.presentationml.slideLayout+xml"/>
  <Override PartName="/ppt/tags/tag359.xml" ContentType="application/vnd.openxmlformats-officedocument.presentationml.tags+xml"/>
  <Override PartName="/ppt/slideLayouts/slideLayout759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453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800.xml" ContentType="application/vnd.openxmlformats-officedocument.presentationml.slideLayout+xml"/>
  <Override PartName="/ppt/tags/tag400.xml" ContentType="application/vnd.openxmlformats-officedocument.presentationml.tags+xml"/>
  <Override PartName="/ppt/tags/tag83.xml" ContentType="application/vnd.openxmlformats-officedocument.presentationml.tags+xml"/>
  <Override PartName="/ppt/slideLayouts/slideLayout292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27.xml" ContentType="application/vnd.openxmlformats-officedocument.theme+xml"/>
  <Override PartName="/ppt/tags/tag384.xml" ContentType="application/vnd.openxmlformats-officedocument.presentationml.tags+xml"/>
  <Override PartName="/ppt/slideMasters/slideMaster31.xml" ContentType="application/vnd.openxmlformats-officedocument.presentationml.slideMaster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slideLayouts/slideLayout368.xml" ContentType="application/vnd.openxmlformats-officedocument.presentationml.slideLayout+xml"/>
  <Override PartName="/ppt/tags/tag315.xml" ContentType="application/vnd.openxmlformats-officedocument.presentationml.tags+xml"/>
  <Override PartName="/ppt/slideLayouts/slideLayout715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223.xml" ContentType="application/vnd.openxmlformats-officedocument.presentationml.slideLayout+xml"/>
  <Override PartName="/ppt/tags/tag154.xml" ContentType="application/vnd.openxmlformats-officedocument.presentationml.tags+xml"/>
  <Override PartName="/ppt/slideLayouts/slideLayout554.xml" ContentType="application/vnd.openxmlformats-officedocument.presentationml.slideLayout+xml"/>
  <Override PartName="/ppt/tags/tag299.xml" ContentType="application/vnd.openxmlformats-officedocument.presentationml.tags+xml"/>
  <Override PartName="/ppt/slideLayouts/slideLayout69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393.xml" ContentType="application/vnd.openxmlformats-officedocument.presentationml.slideLayout+xml"/>
  <Override PartName="/ppt/tags/tag340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s/slide17.xml" ContentType="application/vnd.openxmlformats-officedocument.presentationml.slide+xml"/>
  <Override PartName="/ppt/slideLayouts/slideLayout163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Layouts/slideLayout510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65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494.xml" ContentType="application/vnd.openxmlformats-officedocument.presentationml.slideLayout+xml"/>
  <Override PartName="/ppt/tags/tag280.xml" ContentType="application/vnd.openxmlformats-officedocument.presentationml.tags+xml"/>
  <Override PartName="/ppt/slideLayouts/slideLayout680.xml" ContentType="application/vnd.openxmlformats-officedocument.presentationml.slideLayout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slideLayouts/slideLayout595.xml" ContentType="application/vnd.openxmlformats-officedocument.presentationml.slideLayout+xml"/>
  <Override PartName="/ppt/slideLayouts/slideLayout611.xml" ContentType="application/vnd.openxmlformats-officedocument.presentationml.slideLayout+xml"/>
  <Override PartName="/ppt/tags/tag356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heme/theme24.xml" ContentType="application/vnd.openxmlformats-officedocument.theme+xml"/>
  <Override PartName="/ppt/slideLayouts/slideLayout450.xml" ContentType="application/vnd.openxmlformats-officedocument.presentationml.slideLayout+xml"/>
  <Override PartName="/ppt/tags/tag381.xml" ContentType="application/vnd.openxmlformats-officedocument.presentationml.tags+xml"/>
  <Override PartName="/ppt/slideLayouts/slideLayout781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ags/tag126.xml" ContentType="application/vnd.openxmlformats-officedocument.presentationml.tags+xml"/>
  <Override PartName="/ppt/slideLayouts/slideLayout526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551.xml" ContentType="application/vnd.openxmlformats-officedocument.presentationml.slideLayout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696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ags/tag227.xml" ContentType="application/vnd.openxmlformats-officedocument.presentationml.tags+xml"/>
  <Override PartName="/ppt/slideLayouts/slideLayout627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82.xml" ContentType="application/vnd.openxmlformats-officedocument.presentationml.slideLayout+xml"/>
  <Override PartName="/ppt/tags/tag96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466.xml" ContentType="application/vnd.openxmlformats-officedocument.presentationml.slideLayout+xml"/>
  <Override PartName="/ppt/tags/tag252.xml" ContentType="application/vnd.openxmlformats-officedocument.presentationml.tags+xml"/>
  <Override PartName="/ppt/slideLayouts/slideLayout652.xml" ContentType="application/vnd.openxmlformats-officedocument.presentationml.slideLayout+xml"/>
  <Override PartName="/ppt/slideLayouts/slideLayout797.xml" ContentType="application/vnd.openxmlformats-officedocument.presentationml.slideLayout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ags/tag27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353.xml" ContentType="application/vnd.openxmlformats-officedocument.presentationml.tags+xml"/>
  <Override PartName="/ppt/slideLayouts/slideLayout753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ags/tag192.xml" ContentType="application/vnd.openxmlformats-officedocument.presentationml.tags+xml"/>
  <Override PartName="/ppt/theme/theme21.xml" ContentType="application/vnd.openxmlformats-officedocument.theme+xml"/>
  <Override PartName="/ppt/slideLayouts/slideLayout592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523.xml" ContentType="application/vnd.openxmlformats-officedocument.presentationml.slideLayout+xml"/>
  <Override PartName="/ppt/tags/tag268.xml" ContentType="application/vnd.openxmlformats-officedocument.presentationml.tags+xml"/>
  <Override PartName="/ppt/slideLayouts/slideLayout668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tags/tag293.xml" ContentType="application/vnd.openxmlformats-officedocument.presentationml.tags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224.xml" ContentType="application/vnd.openxmlformats-officedocument.presentationml.tags+xml"/>
  <Override PartName="/ppt/slideLayouts/slideLayout624.xml" ContentType="application/vnd.openxmlformats-officedocument.presentationml.slideLayout+xml"/>
  <Override PartName="/ppt/tags/tag369.xml" ContentType="application/vnd.openxmlformats-officedocument.presentationml.tags+xml"/>
  <Override PartName="/ppt/slideLayouts/slideLayout769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13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theme/theme37.xml" ContentType="application/vnd.openxmlformats-officedocument.theme+xml"/>
  <Override PartName="/ppt/tags/tag39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08.xml" ContentType="application/vnd.openxmlformats-officedocument.presentationml.slideLayout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53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ags/tag325.xml" ContentType="application/vnd.openxmlformats-officedocument.presentationml.tags+xml"/>
  <Override PartName="/ppt/slideLayouts/slideLayout725.xml" ContentType="application/vnd.openxmlformats-officedocument.presentationml.slideLayout+xml"/>
  <Override PartName="/ppt/tags/tag164.xml" ContentType="application/vnd.openxmlformats-officedocument.presentationml.tags+xml"/>
  <Override PartName="/ppt/slideLayouts/slideLayout564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ags/tag350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ags/tag120.xml" ContentType="application/vnd.openxmlformats-officedocument.presentationml.tags+xml"/>
  <Override PartName="/ppt/slideLayouts/slideLayout520.xml" ContentType="application/vnd.openxmlformats-officedocument.presentationml.slideLayout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5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ags/tag290.xml" ContentType="application/vnd.openxmlformats-officedocument.presentationml.tags+xml"/>
  <Override PartName="/ppt/slideLayouts/slideLayout69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621.xml" ContentType="application/vnd.openxmlformats-officedocument.presentationml.slideLayout+xml"/>
  <Override PartName="/ppt/tags/tag366.xml" ContentType="application/vnd.openxmlformats-officedocument.presentationml.tags+xml"/>
  <Override PartName="/ppt/slideLayouts/slideLayout766.xml" ContentType="application/vnd.openxmlformats-officedocument.presentationml.slideLayout+xml"/>
  <Override PartName="/ppt/tags/tag65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221.xml" ContentType="application/vnd.openxmlformats-officedocument.presentationml.tags+xml"/>
  <Override PartName="/ppt/slideLayouts/slideLayout460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tags/tag90.xml" ContentType="application/vnd.openxmlformats-officedocument.presentationml.tags+xml"/>
  <Override PartName="/ppt/theme/theme34.xml" ContentType="application/vnd.openxmlformats-officedocument.theme+xml"/>
  <Override PartName="/ppt/slideLayouts/slideLayout791.xml" ContentType="application/vnd.openxmlformats-officedocument.presentationml.slideLayout+xml"/>
  <Override PartName="/ppt/tags/tag391.xml" ContentType="application/vnd.openxmlformats-officedocument.presentationml.tags+xml"/>
  <Override PartName="/ppt/notesSlides/notesSlide9.xml" ContentType="application/vnd.openxmlformats-officedocument.presentationml.notesSlide+xml"/>
  <Override PartName="/ppt/slideLayouts/slideLayout189.xml" ContentType="application/vnd.openxmlformats-officedocument.presentationml.slideLayout+xml"/>
  <Override PartName="/ppt/tags/tag136.xml" ContentType="application/vnd.openxmlformats-officedocument.presentationml.tags+xml"/>
  <Override PartName="/ppt/slideLayouts/slideLayout536.xml" ContentType="application/vnd.openxmlformats-officedocument.presentationml.slideLayout+xml"/>
  <Override PartName="/ppt/tags/tag322.xml" ContentType="application/vnd.openxmlformats-officedocument.presentationml.tags+xml"/>
  <Override PartName="/ppt/slideLayouts/slideLayout722.xml" ContentType="application/vnd.openxmlformats-officedocument.presentationml.slideLayout+xml"/>
  <Override PartName="/ppt/tags/tag21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161.xml" ContentType="application/vnd.openxmlformats-officedocument.presentationml.tags+xml"/>
  <Override PartName="/ppt/slideLayouts/slideLayout375.xml" ContentType="application/vnd.openxmlformats-officedocument.presentationml.slideLayout+xml"/>
  <Override PartName="/ppt/slideLayouts/slideLayout561.xml" ContentType="application/vnd.openxmlformats-officedocument.presentationml.slideLayout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Masters/slideMaster29.xml" ContentType="application/vnd.openxmlformats-officedocument.presentationml.slideMaster+xml"/>
  <Override PartName="/ppt/slideLayouts/slideLayout14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tags/tag237.xml" ContentType="application/vnd.openxmlformats-officedocument.presentationml.tags+xml"/>
  <Override PartName="/ppt/slides/slide24.xml" ContentType="application/vnd.openxmlformats-officedocument.presentationml.slide+xml"/>
  <Override PartName="/ppt/slideLayouts/slideLayout92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ags/tag262.xml" ContentType="application/vnd.openxmlformats-officedocument.presentationml.tags+xml"/>
  <Override PartName="/ppt/slideLayouts/slideLayout66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ags/tag338.xml" ContentType="application/vnd.openxmlformats-officedocument.presentationml.tags+xml"/>
  <Override PartName="/ppt/slideLayouts/slideLayout738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ags/tag177.xml" ContentType="application/vnd.openxmlformats-officedocument.presentationml.tags+xml"/>
  <Override PartName="/ppt/slideLayouts/slideLayout432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ags/tag62.xml" ContentType="application/vnd.openxmlformats-officedocument.presentationml.tags+xml"/>
  <Override PartName="/ppt/slideLayouts/slideLayout271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ags/tag363.xml" ContentType="application/vnd.openxmlformats-officedocument.presentationml.tags+xml"/>
  <Default Extension="tiff" ContentType="image/tiff"/>
  <Override PartName="/ppt/slideMasters/slideMaster10.xml" ContentType="application/vnd.openxmlformats-officedocument.presentationml.slideMaster+xml"/>
  <Override PartName="/ppt/tags/tag108.xml" ContentType="application/vnd.openxmlformats-officedocument.presentationml.tags+xml"/>
  <Override PartName="/ppt/slideLayouts/slideLayout347.xml" ContentType="application/vnd.openxmlformats-officedocument.presentationml.slideLayout+xml"/>
  <Override PartName="/ppt/theme/theme31.xml" ContentType="application/vnd.openxmlformats-officedocument.theme+xml"/>
  <Override PartName="/ppt/notesSlides/notesSlide6.xml" ContentType="application/vnd.openxmlformats-officedocument.presentationml.notesSlide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133.xml" ContentType="application/vnd.openxmlformats-officedocument.presentationml.tags+xml"/>
  <Override PartName="/ppt/charts/chart2.xml" ContentType="application/vnd.openxmlformats-officedocument.drawingml.chart+xml"/>
  <Override PartName="/ppt/slideLayouts/slideLayout533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67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ags/tag209.xml" ContentType="application/vnd.openxmlformats-officedocument.presentationml.tags+xml"/>
  <Override PartName="/ppt/slideLayouts/slideLayout609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142.xml" ContentType="application/vnd.openxmlformats-officedocument.presentationml.slideLayout+xml"/>
  <Override PartName="/ppt/tags/tag78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81.xml" ContentType="application/vnd.openxmlformats-officedocument.presentationml.slideLayout+xml"/>
  <Override PartName="/ppt/tags/tag379.xml" ContentType="application/vnd.openxmlformats-officedocument.presentationml.tags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slideLayouts/slideLayout426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612.xml" ContentType="application/vnd.openxmlformats-officedocument.presentationml.slideLayout+xml"/>
  <Override PartName="/ppt/tags/tag357.xml" ContentType="application/vnd.openxmlformats-officedocument.presentationml.tags+xml"/>
  <Override PartName="/ppt/slideLayouts/slideLayout757.xml" ContentType="application/vnd.openxmlformats-officedocument.presentationml.slideLayout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slideLayouts/slideLayout404.xml" ContentType="application/vnd.openxmlformats-officedocument.presentationml.slideLayout+xml"/>
  <Override PartName="/ppt/tags/tag212.xml" ContentType="application/vnd.openxmlformats-officedocument.presentationml.tags+xml"/>
  <Override PartName="/ppt/slideLayouts/slideLayout451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82.xml" ContentType="application/vnd.openxmlformats-officedocument.presentationml.slideLayout+xml"/>
  <Override PartName="/ppt/tags/tag34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81.xml" ContentType="application/vnd.openxmlformats-officedocument.presentationml.tags+xml"/>
  <Override PartName="/ppt/slideLayouts/slideLayout290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74.xml" ContentType="application/vnd.openxmlformats-officedocument.presentationml.slideLayout+xml"/>
  <Override PartName="/ppt/theme/theme25.xml" ContentType="application/vnd.openxmlformats-officedocument.theme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174.xml" ContentType="application/vnd.openxmlformats-officedocument.presentationml.tags+xml"/>
  <Override PartName="/ppt/slideLayouts/slideLayout366.xml" ContentType="application/vnd.openxmlformats-officedocument.presentationml.slideLayout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Layouts/slideLayout713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158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505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ags/tag297.xml" ContentType="application/vnd.openxmlformats-officedocument.presentationml.tags+xml"/>
  <Override PartName="/ppt/slideLayouts/slideLayout69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slideLayouts/slideLayout628.xml" ContentType="application/vnd.openxmlformats-officedocument.presentationml.slideLayout+xml"/>
  <Override PartName="/ppt/slideLayouts/slideLayout675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322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s/slide15.xml" ContentType="application/vnd.openxmlformats-officedocument.presentationml.slide+xml"/>
  <Override PartName="/ppt/slideLayouts/slideLayout114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slideLayouts/slideLayout606.xml" ContentType="application/vnd.openxmlformats-officedocument.presentationml.slideLayout+xml"/>
  <Override PartName="/ppt/tags/tag253.xml" ContentType="application/vnd.openxmlformats-officedocument.presentationml.tags+xml"/>
  <Override PartName="/ppt/slideLayouts/slideLayout653.xml" ContentType="application/vnd.openxmlformats-officedocument.presentationml.slideLayout+xml"/>
  <Override PartName="/ppt/tags/tag398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300.xml" ContentType="application/vnd.openxmlformats-officedocument.presentationml.slideLayout+xml"/>
  <Override PartName="/ppt/theme/theme19.xml" ContentType="application/vnd.openxmlformats-officedocument.theme+xml"/>
  <Override PartName="/ppt/slideLayouts/slideLayout445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slideLayouts/slideLayout631.xml" ContentType="application/vnd.openxmlformats-officedocument.presentationml.slideLayout+xml"/>
  <Override PartName="/ppt/tags/tag376.xml" ContentType="application/vnd.openxmlformats-officedocument.presentationml.tags+xml"/>
  <Override PartName="/ppt/slideLayouts/slideLayout729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Masters/slideMaster23.xml" ContentType="application/vnd.openxmlformats-officedocument.presentationml.slideMaster+xml"/>
  <Override PartName="/ppt/slides/slide40.xml" ContentType="application/vnd.openxmlformats-officedocument.presentationml.slide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ags/tag168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54.xml" ContentType="application/vnd.openxmlformats-officedocument.presentationml.slideLayout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ags/tag53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ags/tag146.xml" ContentType="application/vnd.openxmlformats-officedocument.presentationml.tags+xml"/>
  <Override PartName="/ppt/slideLayouts/slideLayout338.xml" ContentType="application/vnd.openxmlformats-officedocument.presentationml.slideLayout+xml"/>
  <Override PartName="/ppt/tags/tag193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heme/theme22.xml" ContentType="application/vnd.openxmlformats-officedocument.theme+xml"/>
  <Override PartName="/ppt/tags/tag332.xml" ContentType="application/vnd.openxmlformats-officedocument.presentationml.tags+xml"/>
  <Override PartName="/ppt/slideLayouts/slideLayout669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slideLayouts/slideLayout524.xml" ContentType="application/vnd.openxmlformats-officedocument.presentationml.slideLayout+xml"/>
  <Override PartName="/ppt/slideLayouts/slideLayout571.xml" ContentType="application/vnd.openxmlformats-officedocument.presentationml.slideLayout+xml"/>
  <Override PartName="/ppt/tags/tag269.xml" ContentType="application/vnd.openxmlformats-officedocument.presentationml.tags+xml"/>
  <Override PartName="/ppt/slideLayouts/slideLayout71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502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Layouts/slideLayout647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s/slide34.xml" ContentType="application/vnd.openxmlformats-officedocument.presentationml.slide+xml"/>
  <Override PartName="/ppt/slideLayouts/slideLayout133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ags/tag69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417.xml" ContentType="application/vnd.openxmlformats-officedocument.presentationml.slideLayout+xml"/>
  <Override PartName="/ppt/tags/tag225.xml" ContentType="application/vnd.openxmlformats-officedocument.presentationml.tags+xml"/>
  <Override PartName="/ppt/slideLayouts/slideLayout464.xml" ContentType="application/vnd.openxmlformats-officedocument.presentationml.slideLayout+xml"/>
  <Override PartName="/ppt/tags/tag272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slideLayouts/slideLayout603.xml" ContentType="application/vnd.openxmlformats-officedocument.presentationml.slideLayout+xml"/>
  <Override PartName="/ppt/tags/tag250.xml" ContentType="application/vnd.openxmlformats-officedocument.presentationml.tags+xml"/>
  <Override PartName="/ppt/slideLayouts/slideLayout650.xml" ContentType="application/vnd.openxmlformats-officedocument.presentationml.slideLayout+xml"/>
  <Override PartName="/ppt/tags/tag348.xml" ContentType="application/vnd.openxmlformats-officedocument.presentationml.tags+xml"/>
  <Override PartName="/ppt/slideLayouts/slideLayout748.xml" ContentType="application/vnd.openxmlformats-officedocument.presentationml.slideLayout+xml"/>
  <Override PartName="/ppt/slideLayouts/slideLayout795.xml" ContentType="application/vnd.openxmlformats-officedocument.presentationml.slideLayout+xml"/>
  <Override PartName="/ppt/tags/tag395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187.xml" ContentType="application/vnd.openxmlformats-officedocument.presentationml.tags+xml"/>
  <Override PartName="/ppt/slideLayouts/slideLayout442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73.xml" ContentType="application/vnd.openxmlformats-officedocument.presentationml.slideLayout+xml"/>
  <Override PartName="/ppt/tags/tag25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165.xml" ContentType="application/vnd.openxmlformats-officedocument.presentationml.tags+xml"/>
  <Override PartName="/ppt/slideLayouts/slideLayout379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slideLayouts/slideLayout688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543.xml" ContentType="application/vnd.openxmlformats-officedocument.presentationml.slideLayout+xml"/>
  <Override PartName="/ppt/slideLayouts/slideLayout590.xml" ContentType="application/vnd.openxmlformats-officedocument.presentationml.slideLayout+xml"/>
  <Override PartName="/ppt/tags/tag288.xml" ContentType="application/vnd.openxmlformats-officedocument.presentationml.tags+xml"/>
  <Override PartName="/ppt/slides/slide28.xml" ContentType="application/vnd.openxmlformats-officedocument.presentationml.slid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ags/tag219.xml" ContentType="application/vnd.openxmlformats-officedocument.presentationml.tags+xml"/>
  <Override PartName="/ppt/slideLayouts/slideLayout521.xml" ContentType="application/vnd.openxmlformats-officedocument.presentationml.slideLayout+xml"/>
  <Override PartName="/ppt/tags/tag266.xml" ContentType="application/vnd.openxmlformats-officedocument.presentationml.tags+xml"/>
  <Override PartName="/ppt/slideLayouts/slideLayout619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ags/tag389.xml" ContentType="application/vnd.openxmlformats-officedocument.presentationml.tags+xml"/>
  <Override PartName="/ppt/slides/slide53.xml" ContentType="application/vnd.openxmlformats-officedocument.presentationml.slide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ags/tag88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ags/tag244.xml" ContentType="application/vnd.openxmlformats-officedocument.presentationml.tags+xml"/>
  <Override PartName="/ppt/tags/tag291.xml" ContentType="application/vnd.openxmlformats-officedocument.presentationml.tags+xml"/>
  <Default Extension="jpeg" ContentType="image/jpeg"/>
  <Override PartName="/ppt/slides/slide31.xml" ContentType="application/vnd.openxmlformats-officedocument.presentationml.slide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66.xml" ContentType="application/vnd.openxmlformats-officedocument.presentationml.tags+xml"/>
  <Override PartName="/ppt/slideLayouts/slideLayout275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622.xml" ContentType="application/vnd.openxmlformats-officedocument.presentationml.slideLayout+xml"/>
  <Override PartName="/ppt/tags/tag367.xml" ContentType="application/vnd.openxmlformats-officedocument.presentationml.tags+xml"/>
  <Override PartName="/ppt/slideLayouts/slideLayout767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414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tags/tag345.xml" ContentType="application/vnd.openxmlformats-officedocument.presentationml.tags+xml"/>
  <Override PartName="/ppt/slideLayouts/slideLayout745.xml" ContentType="application/vnd.openxmlformats-officedocument.presentationml.slideLayout+xml"/>
  <Override PartName="/ppt/slideLayouts/slideLayout792.xml" ContentType="application/vnd.openxmlformats-officedocument.presentationml.slideLayout+xml"/>
  <Override PartName="/ppt/theme/theme35.xml" ContentType="application/vnd.openxmlformats-officedocument.theme+xml"/>
  <Override PartName="/ppt/tags/tag392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398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84.xml" ContentType="application/vnd.openxmlformats-officedocument.presentationml.slideLayout+xml"/>
  <Override PartName="/ppt/tags/tag22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13.xml" ContentType="application/vnd.openxmlformats-officedocument.theme+xml"/>
  <Override PartName="/ppt/slideLayouts/slideLayout376.xml" ContentType="application/vnd.openxmlformats-officedocument.presentationml.slideLayout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Layouts/slideLayout723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499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62.xml" ContentType="application/vnd.openxmlformats-officedocument.presentationml.slideLayout+xml"/>
  <Override PartName="/ppt/tags/tag301.xml" ContentType="application/vnd.openxmlformats-officedocument.presentationml.tags+xml"/>
  <Override PartName="/ppt/slideLayouts/slideLayout701.xml" ContentType="application/vnd.openxmlformats-officedocument.presentationml.slideLayout+xml"/>
  <Override PartName="/ppt/slides/slide47.xml" ContentType="application/vnd.openxmlformats-officedocument.presentationml.slide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slideLayouts/slideLayout354.xml" ContentType="application/vnd.openxmlformats-officedocument.presentationml.slideLayout+xml"/>
  <Override PartName="/ppt/slideLayouts/slideLayout540.xml" ContentType="application/vnd.openxmlformats-officedocument.presentationml.slideLayout+xml"/>
  <Override PartName="/ppt/tags/tag285.xml" ContentType="application/vnd.openxmlformats-officedocument.presentationml.tags+xml"/>
  <Override PartName="/ppt/slideLayouts/slideLayout68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ags/tag216.xml" ContentType="application/vnd.openxmlformats-officedocument.presentationml.tags+xml"/>
  <Override PartName="/ppt/slideLayouts/slideLayout45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85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241.xml" ContentType="application/vnd.openxmlformats-officedocument.presentationml.tags+xml"/>
  <Override PartName="/ppt/slideLayouts/slideLayout641.xml" ContentType="application/vnd.openxmlformats-officedocument.presentationml.slideLayout+xml"/>
  <Override PartName="/ppt/theme/theme29.xml" ContentType="application/vnd.openxmlformats-officedocument.theme+xml"/>
  <Override PartName="/ppt/tags/tag386.xml" ContentType="application/vnd.openxmlformats-officedocument.presentationml.tags+xml"/>
  <Override PartName="/ppt/slideMasters/slideMaster33.xml" ContentType="application/vnd.openxmlformats-officedocument.presentationml.slideMaster+xml"/>
  <Override PartName="/ppt/tags/tag16.xml" ContentType="application/vnd.openxmlformats-officedocument.presentationml.tags+xml"/>
  <Override PartName="/ppt/slideLayouts/slideLayout480.xml" ContentType="application/vnd.openxmlformats-officedocument.presentationml.slideLayout+xml"/>
  <Override PartName="/ppt/tags/tag317.xml" ContentType="application/vnd.openxmlformats-officedocument.presentationml.tags+xml"/>
  <Override PartName="/ppt/slideLayouts/slideLayout717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Layouts/slideLayout225.xml" ContentType="application/vnd.openxmlformats-officedocument.presentationml.slideLayout+xml"/>
  <Override PartName="/ppt/tags/tag156.xml" ContentType="application/vnd.openxmlformats-officedocument.presentationml.tags+xml"/>
  <Override PartName="/ppt/slideLayouts/slideLayout411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ags/tag41.xml" ContentType="application/vnd.openxmlformats-officedocument.presentationml.tags+xml"/>
  <Override PartName="/ppt/slideLayouts/slideLayout395.xml" ContentType="application/vnd.openxmlformats-officedocument.presentationml.slideLayout+xml"/>
  <Override PartName="/ppt/tags/tag342.xml" ContentType="application/vnd.openxmlformats-officedocument.presentationml.tags+xml"/>
  <Override PartName="/ppt/slideLayouts/slideLayout742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326.xml" ContentType="application/vnd.openxmlformats-officedocument.presentationml.slideLayout+xml"/>
  <Override PartName="/ppt/tags/tag181.xml" ContentType="application/vnd.openxmlformats-officedocument.presentationml.tags+xml"/>
  <Override PartName="/ppt/slideLayouts/slideLayout581.xml" ContentType="application/vnd.openxmlformats-officedocument.presentationml.slideLayout+xml"/>
  <Override PartName="/ppt/slides/slide19.xml" ContentType="application/vnd.openxmlformats-officedocument.presentationml.slide+xml"/>
  <Override PartName="/ppt/slideLayouts/slideLayout165.xml" ContentType="application/vnd.openxmlformats-officedocument.presentationml.slideLayout+xml"/>
  <Override PartName="/ppt/tags/tag112.xml" ContentType="application/vnd.openxmlformats-officedocument.presentationml.tags+xml"/>
  <Override PartName="/ppt/slideLayouts/slideLayout512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65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758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slideLayouts/slideLayout597.xml" ContentType="application/vnd.openxmlformats-officedocument.presentationml.slideLayout+xml"/>
  <Override PartName="/ppt/slideLayouts/slideLayout613.xml" ContentType="application/vnd.openxmlformats-officedocument.presentationml.slideLayout+xml"/>
  <Override PartName="/ppt/tags/tag358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452.xml" ContentType="application/vnd.openxmlformats-officedocument.presentationml.slideLayout+xml"/>
  <Override PartName="/ppt/theme/theme26.xml" ContentType="application/vnd.openxmlformats-officedocument.theme+xml"/>
  <Override PartName="/ppt/slideLayouts/slideLayout783.xml" ContentType="application/vnd.openxmlformats-officedocument.presentationml.slideLayout+xml"/>
  <Override PartName="/ppt/tags/tag383.xml" ContentType="application/vnd.openxmlformats-officedocument.presentationml.tags+xml"/>
  <Override PartName="/ppt/slideMasters/slideMaster30.xml" ContentType="application/vnd.openxmlformats-officedocument.presentationml.slideMaster+xml"/>
  <Override PartName="/ppt/tags/tag128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714.xml" ContentType="application/vnd.openxmlformats-officedocument.presentationml.slideLayout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698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slideLayouts/slideLayout392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ags/tag229.xml" ContentType="application/vnd.openxmlformats-officedocument.presentationml.tags+xml"/>
  <Override PartName="/ppt/slideLayouts/slideLayout629.xml" ContentType="application/vnd.openxmlformats-officedocument.presentationml.slideLayout+xml"/>
  <Override PartName="/ppt/slideLayouts/slideLayout84.xml" ContentType="application/vnd.openxmlformats-officedocument.presentationml.slideLayout+xml"/>
  <Override PartName="/ppt/tags/tag98.xml" ContentType="application/vnd.openxmlformats-officedocument.presentationml.tags+xml"/>
  <Override PartName="/ppt/slideLayouts/slideLayout323.xml" ContentType="application/vnd.openxmlformats-officedocument.presentationml.slideLayout+xml"/>
  <Override PartName="/ppt/slideLayouts/slideLayout468.xml" ContentType="application/vnd.openxmlformats-officedocument.presentationml.slideLayout+xml"/>
  <Override PartName="/ppt/tags/tag254.xml" ContentType="application/vnd.openxmlformats-officedocument.presentationml.tags+xml"/>
  <Override PartName="/ppt/slideLayouts/slideLayout654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slideLayouts/slideLayout424.xml" ContentType="application/vnd.openxmlformats-officedocument.presentationml.slideLayout+xml"/>
  <Override PartName="/ppt/slideLayouts/slideLayout610.xml" ContentType="application/vnd.openxmlformats-officedocument.presentationml.slideLayout+xml"/>
  <Override PartName="/ppt/tags/tag355.xml" ContentType="application/vnd.openxmlformats-officedocument.presentationml.tags+xml"/>
  <Override PartName="/ppt/slideLayouts/slideLayout755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ags/tag194.xml" ContentType="application/vnd.openxmlformats-officedocument.presentationml.tags+xml"/>
  <Override PartName="/ppt/theme/theme23.xml" ContentType="application/vnd.openxmlformats-officedocument.theme+xml"/>
  <Override PartName="/ppt/slideLayouts/slideLayout594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525.xml" ContentType="application/vnd.openxmlformats-officedocument.presentationml.slideLayout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125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311.xml" ContentType="application/vnd.openxmlformats-officedocument.presentationml.tags+xml"/>
  <Override PartName="/ppt/slideLayouts/slideLayout695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09.xml" ContentType="application/vnd.openxmlformats-officedocument.presentationml.slideLayout+xml"/>
  <Override PartName="/ppt/tags/tag150.xml" ContentType="application/vnd.openxmlformats-officedocument.presentationml.tags+xml"/>
  <Override PartName="/ppt/slideLayouts/slideLayout550.xml" ContentType="application/vnd.openxmlformats-officedocument.presentationml.slideLayout+xml"/>
  <Override PartName="/ppt/tags/tag29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626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slideLayouts/slideLayout651.xml" ContentType="application/vnd.openxmlformats-officedocument.presentationml.slideLayout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235.xml" ContentType="application/vnd.openxmlformats-officedocument.presentationml.slideLayout+xml"/>
  <Override PartName="/ppt/slideLayouts/slideLayout490.xml" ContentType="application/vnd.openxmlformats-officedocument.presentationml.slideLayout+xml"/>
  <Override PartName="/ppt/tags/tag327.xml" ContentType="application/vnd.openxmlformats-officedocument.presentationml.tags+xml"/>
  <Override PartName="/ppt/slideLayouts/slideLayout727.xml" ContentType="application/vnd.openxmlformats-officedocument.presentationml.slideLayout+xml"/>
  <Override PartName="/ppt/tags/tag166.xml" ContentType="application/vnd.openxmlformats-officedocument.presentationml.tags+xml"/>
  <Override PartName="/ppt/slideLayouts/slideLayout421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ags/tag51.xml" ContentType="application/vnd.openxmlformats-officedocument.presentationml.tags+xml"/>
  <Override PartName="/ppt/slideLayouts/slideLayout591.xml" ContentType="application/vnd.openxmlformats-officedocument.presentationml.slideLayout+xml"/>
  <Override PartName="/ppt/tags/tag35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ags/tag191.xml" ContentType="application/vnd.openxmlformats-officedocument.presentationml.tags+xml"/>
  <Override PartName="/ppt/theme/theme20.xml" ContentType="application/vnd.openxmlformats-officedocument.theme+xml"/>
  <Override PartName="/ppt/slideLayouts/slideLayout667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175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522.xml" ContentType="application/vnd.openxmlformats-officedocument.presentationml.slideLayout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ags/tag292.xml" ContentType="application/vnd.openxmlformats-officedocument.presentationml.tags+xml"/>
  <Override PartName="/ppt/slideLayouts/slideLayout69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623.xml" ContentType="application/vnd.openxmlformats-officedocument.presentationml.slideLayout+xml"/>
  <Override PartName="/ppt/tags/tag368.xml" ContentType="application/vnd.openxmlformats-officedocument.presentationml.tags+xml"/>
  <Override PartName="/ppt/slideLayouts/slideLayout768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ags/tag67.xml" ContentType="application/vnd.openxmlformats-officedocument.presentationml.tags+xml"/>
  <Override PartName="/ppt/slideLayouts/slideLayout276.xml" ContentType="application/vnd.openxmlformats-officedocument.presentationml.slideLayout+xml"/>
  <Override PartName="/ppt/tags/tag223.xml" ContentType="application/vnd.openxmlformats-officedocument.presentationml.tags+xml"/>
  <Override PartName="/ppt/slideLayouts/slideLayout462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207.xml" ContentType="application/vnd.openxmlformats-officedocument.presentationml.slideLayout+xml"/>
  <Override PartName="/ppt/tags/tag92.xml" ContentType="application/vnd.openxmlformats-officedocument.presentationml.tags+xml"/>
  <Override PartName="/ppt/slideLayouts/slideLayout793.xml" ContentType="application/vnd.openxmlformats-officedocument.presentationml.slideLayout+xml"/>
  <Override PartName="/ppt/theme/theme36.xml" ContentType="application/vnd.openxmlformats-officedocument.theme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slideLayouts/slideLayout538.xml" ContentType="application/vnd.openxmlformats-officedocument.presentationml.slideLayout+xml"/>
  <Override PartName="/ppt/tags/tag324.xml" ContentType="application/vnd.openxmlformats-officedocument.presentationml.tags+xml"/>
  <Override PartName="/ppt/slideLayouts/slideLayout724.xml" ContentType="application/vnd.openxmlformats-officedocument.presentationml.slideLayout+xml"/>
  <Override PartName="/ppt/tags/tag2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163.xml" ContentType="application/vnd.openxmlformats-officedocument.presentationml.tags+xml"/>
  <Override PartName="/ppt/slideLayouts/slideLayout377.xml" ContentType="application/vnd.openxmlformats-officedocument.presentationml.slideLayout+xml"/>
  <Override PartName="/ppt/slideLayouts/slideLayout563.xml" ContentType="application/vnd.openxmlformats-officedocument.presentationml.slideLayout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639.xml" ContentType="application/vnd.openxmlformats-officedocument.presentationml.slideLayout+xml"/>
  <Default Extension="bin" ContentType="application/vnd.openxmlformats-officedocument.oleObject"/>
  <Override PartName="/ppt/slideLayouts/slideLayout14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tags/tag239.xml" ContentType="application/vnd.openxmlformats-officedocument.presentationml.tags+xml"/>
  <Override PartName="/ppt/slides/slide26.xml" ContentType="application/vnd.openxmlformats-officedocument.presentationml.slide+xml"/>
  <Override PartName="/ppt/slideLayouts/slideLayout9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ags/tag264.xml" ContentType="application/vnd.openxmlformats-officedocument.presentationml.tags+xml"/>
  <Override PartName="/ppt/slideLayouts/slideLayout66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9.xml" ContentType="application/vnd.openxmlformats-officedocument.presentationml.tags+xml"/>
  <Override PartName="/ppt/slideLayouts/slideLayout409.xml" ContentType="application/vnd.openxmlformats-officedocument.presentationml.slideLayout+xml"/>
  <Override PartName="/ppt/slides/slide51.xml" ContentType="application/vnd.openxmlformats-officedocument.presentationml.slide+xml"/>
  <Override PartName="/ppt/slideLayouts/slideLayout103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434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slideLayouts/slideLayout273.xml" ContentType="application/vnd.openxmlformats-officedocument.presentationml.slideLayout+xml"/>
  <Override PartName="/ppt/tags/tag220.xml" ContentType="application/vnd.openxmlformats-officedocument.presentationml.tags+xml"/>
  <Override PartName="/ppt/slideLayouts/slideLayout620.xml" ContentType="application/vnd.openxmlformats-officedocument.presentationml.slideLayout+xml"/>
  <Override PartName="/ppt/tags/tag365.xml" ContentType="application/vnd.openxmlformats-officedocument.presentationml.tags+xml"/>
  <Override PartName="/ppt/slideLayouts/slideLayout765.xml" ContentType="application/vnd.openxmlformats-officedocument.presentationml.slideLayout+xml"/>
  <Override PartName="/ppt/slideMasters/slideMaster12.xml" ContentType="application/vnd.openxmlformats-officedocument.presentationml.slideMaster+xml"/>
  <Override PartName="/ppt/slideLayouts/slideLayout349.xml" ContentType="application/vnd.openxmlformats-officedocument.presentationml.slideLayout+xml"/>
  <Override PartName="/ppt/theme/theme33.xml" ContentType="application/vnd.openxmlformats-officedocument.theme+xml"/>
  <Override PartName="/ppt/slideLayouts/slideLayout790.xml" ContentType="application/vnd.openxmlformats-officedocument.presentationml.slideLayout+xml"/>
  <Override PartName="/ppt/tags/tag390.xml" ContentType="application/vnd.openxmlformats-officedocument.presentationml.tags+xml"/>
  <Override PartName="/ppt/notesSlides/notesSlide8.xml" ContentType="application/vnd.openxmlformats-officedocument.presentationml.notesSlide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135.xml" ContentType="application/vnd.openxmlformats-officedocument.presentationml.tags+xml"/>
  <Override PartName="/ppt/slideLayouts/slideLayout53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374.xml" ContentType="application/vnd.openxmlformats-officedocument.presentationml.slideLayout+xml"/>
  <Override PartName="/ppt/tags/tag321.xml" ContentType="application/vnd.openxmlformats-officedocument.presentationml.tags+xml"/>
  <Override PartName="/ppt/slideLayouts/slideLayout721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560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ags/tag236.xml" ContentType="application/vnd.openxmlformats-officedocument.presentationml.tags+xml"/>
  <Override PartName="/ppt/slideLayouts/slideLayout636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ags/tag261.xml" ContentType="application/vnd.openxmlformats-officedocument.presentationml.tags+xml"/>
  <Override PartName="/ppt/slideLayouts/slideLayout737.xml" ContentType="application/vnd.openxmlformats-officedocument.presentationml.slideLayout+xml"/>
  <Override PartName="/ppt/tags/tag36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tags/tag337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slideLayouts/slideLayout431.xml" ContentType="application/vnd.openxmlformats-officedocument.presentationml.slideLayout+xml"/>
  <Override PartName="/ppt/tags/tag362.xml" ContentType="application/vnd.openxmlformats-officedocument.presentationml.tags+xml"/>
  <Override PartName="/ppt/slideLayouts/slideLayout762.xml" ContentType="application/vnd.openxmlformats-officedocument.presentationml.slideLayout+xml"/>
  <Override PartName="/ppt/tags/tag107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346.xml" ContentType="application/vnd.openxmlformats-officedocument.presentationml.slideLayout+xml"/>
  <Override PartName="/ppt/charts/chart1.xml" ContentType="application/vnd.openxmlformats-officedocument.drawingml.chart+xml"/>
  <Override PartName="/ppt/slideLayouts/slideLayout532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677.xml" ContentType="application/vnd.openxmlformats-officedocument.presentationml.slideLayout+xml"/>
  <Override PartName="/ppt/theme/theme30.xml" ContentType="application/vnd.openxmlformats-officedocument.theme+xml"/>
  <Override PartName="/ppt/notesSlides/notesSlide5.xml" ContentType="application/vnd.openxmlformats-officedocument.presentationml.notes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371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slideLayouts/slideLayout608.xml" ContentType="application/vnd.openxmlformats-officedocument.presentationml.slideLayout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tags/tag77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ags/tag233.xml" ContentType="application/vnd.openxmlformats-officedocument.presentationml.tags+xml"/>
  <Override PartName="/ppt/slideLayouts/slideLayout633.xml" ContentType="application/vnd.openxmlformats-officedocument.presentationml.slideLayout+xml"/>
  <Override PartName="/ppt/tags/tag378.xml" ContentType="application/vnd.openxmlformats-officedocument.presentationml.tags+xml"/>
  <Override PartName="/ppt/slideLayouts/slideLayout778.xml" ContentType="application/vnd.openxmlformats-officedocument.presentationml.slideLayout+xml"/>
  <Override PartName="/ppt/slideMasters/slideMaster25.xml" ContentType="application/vnd.openxmlformats-officedocument.presentationml.slideMaster+xml"/>
  <Override PartName="/ppt/slideLayouts/slideLayout141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21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ags/tag309.xml" ContentType="application/vnd.openxmlformats-officedocument.presentationml.tags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ags/tag334.xml" ContentType="application/vnd.openxmlformats-officedocument.presentationml.tags+xml"/>
  <Override PartName="/ppt/slideLayouts/slideLayout734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ags/tag173.xml" ContentType="application/vnd.openxmlformats-officedocument.presentationml.tags+xml"/>
  <Override PartName="/ppt/slideLayouts/slideLayout573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504.xml" ContentType="application/vnd.openxmlformats-officedocument.presentationml.slideLayout+xml"/>
  <Override PartName="/ppt/tags/tag249.xml" ContentType="application/vnd.openxmlformats-officedocument.presentationml.tags+xml"/>
  <Override PartName="/ppt/slideLayouts/slideLayout649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ags/tag104.xml" ContentType="application/vnd.openxmlformats-officedocument.presentationml.tags+xml"/>
  <Override PartName="/ppt/slideLayouts/slideLayout343.xml" ContentType="application/vnd.openxmlformats-officedocument.presentationml.slideLayout+xml"/>
  <Override PartName="/ppt/slideLayouts/slideLayout48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182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67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ags/tag49.xml" ContentType="application/vnd.openxmlformats-officedocument.presentationml.tags+xml"/>
  <Override PartName="/ppt/tags/tag205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89.xml" ContentType="application/vnd.openxmlformats-officedocument.presentationml.tags+xml"/>
  <Override PartName="/ppt/theme/theme18.xml" ContentType="application/vnd.openxmlformats-officedocument.theme+xml"/>
  <Override PartName="/ppt/slideLayouts/slideLayout444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775.xml" ContentType="application/vnd.openxmlformats-officedocument.presentationml.slideLayout+xml"/>
  <Override PartName="/ppt/tableStyles.xml" ContentType="application/vnd.openxmlformats-officedocument.presentationml.tableStyles+xml"/>
  <Override PartName="/ppt/tags/tag74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230.xml" ContentType="application/vnd.openxmlformats-officedocument.presentationml.tags+xml"/>
  <Override PartName="/ppt/slideLayouts/slideLayout630.xml" ContentType="application/vnd.openxmlformats-officedocument.presentationml.slideLayout+xml"/>
  <Override PartName="/ppt/tags/tag375.xml" ContentType="application/vnd.openxmlformats-officedocument.presentationml.tags+xml"/>
  <Override PartName="/ppt/slideMasters/slideMaster22.xml" ContentType="application/vnd.openxmlformats-officedocument.presentationml.slideMaster+xml"/>
  <Override PartName="/ppt/slideLayouts/slideLayout359.xml" ContentType="application/vnd.openxmlformats-officedocument.presentationml.slideLayout+xml"/>
  <Override PartName="/ppt/tags/tag306.xml" ContentType="application/vnd.openxmlformats-officedocument.presentationml.tags+xml"/>
  <Override PartName="/ppt/slideLayouts/slideLayout706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ags/tag145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731.xml" ContentType="application/vnd.openxmlformats-officedocument.presentationml.slideLayout+xml"/>
  <Override PartName="/ppt/tags/tag30.xml" ContentType="application/vnd.openxmlformats-officedocument.presentationml.tags+xml"/>
  <Override PartName="/ppt/slideLayouts/slideLayout384.xml" ContentType="application/vnd.openxmlformats-officedocument.presentationml.slideLayout+xml"/>
  <Override PartName="/ppt/slideLayouts/slideLayout570.xml" ContentType="application/vnd.openxmlformats-officedocument.presentationml.slideLayout+xml"/>
  <Override PartName="/ppt/tags/tag33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646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299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ags/tag246.xml" ContentType="application/vnd.openxmlformats-officedocument.presentationml.tags+xml"/>
  <Override PartName="/ppt/slides/slide33.xml" ContentType="application/vnd.openxmlformats-officedocument.presentationml.slide+xml"/>
  <Override PartName="/ppt/slideLayouts/slideLayout340.xml" ContentType="application/vnd.openxmlformats-officedocument.presentationml.slideLayout+xml"/>
  <Override PartName="/ppt/tags/tag271.xml" ContentType="application/vnd.openxmlformats-officedocument.presentationml.tags+xml"/>
  <Override PartName="/ppt/slideLayouts/slideLayout67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602.xml" ContentType="application/vnd.openxmlformats-officedocument.presentationml.slideLayout+xml"/>
  <Override PartName="/ppt/tags/tag347.xml" ContentType="application/vnd.openxmlformats-officedocument.presentationml.tags+xml"/>
  <Override PartName="/ppt/slideLayouts/slideLayout747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ags/tag46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441.xml" ContentType="application/vnd.openxmlformats-officedocument.presentationml.slideLayout+xml"/>
  <Override PartName="/ppt/slideLayouts/slideLayout586.xml" ContentType="application/vnd.openxmlformats-officedocument.presentationml.slideLayout+xml"/>
  <Override PartName="/ppt/tags/tag71.xml" ContentType="application/vnd.openxmlformats-officedocument.presentationml.tags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tags/tag372.xml" ContentType="application/vnd.openxmlformats-officedocument.presentationml.tags+xml"/>
  <Override PartName="/ppt/slideLayouts/slideLayout772.xml" ContentType="application/vnd.openxmlformats-officedocument.presentationml.slideLayout+xml"/>
  <Override PartName="/ppt/tags/tag117.xml" ContentType="application/vnd.openxmlformats-officedocument.presentationml.tags+xml"/>
  <Override PartName="/ppt/slideLayouts/slideLayout517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s/slide49.xml" ContentType="application/vnd.openxmlformats-officedocument.presentationml.slide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tags/tag142.xml" ContentType="application/vnd.openxmlformats-officedocument.presentationml.tags+xml"/>
  <Override PartName="/ppt/slideLayouts/slideLayout356.xml" ContentType="application/vnd.openxmlformats-officedocument.presentationml.slideLayout+xml"/>
  <Override PartName="/ppt/slideLayouts/slideLayout542.xml" ContentType="application/vnd.openxmlformats-officedocument.presentationml.slideLayout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68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ags/tag218.xml" ContentType="application/vnd.openxmlformats-officedocument.presentationml.tags+xml"/>
  <Override PartName="/ppt/slideLayouts/slideLayout457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87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243.xml" ContentType="application/vnd.openxmlformats-officedocument.presentationml.tags+xml"/>
  <Override PartName="/ppt/slideLayouts/slideLayout643.xml" ContentType="application/vnd.openxmlformats-officedocument.presentationml.slideLayout+xml"/>
  <Override PartName="/ppt/slideLayouts/slideLayout788.xml" ContentType="application/vnd.openxmlformats-officedocument.presentationml.slideLayout+xml"/>
  <Override PartName="/ppt/tags/tag388.xml" ContentType="application/vnd.openxmlformats-officedocument.presentationml.tags+xml"/>
  <Override PartName="/ppt/slideMasters/slideMaster35.xml" ContentType="application/vnd.openxmlformats-officedocument.presentationml.slideMaster+xml"/>
  <Override PartName="/ppt/slideLayouts/slideLayout15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tags/tag319.xml" ContentType="application/vnd.openxmlformats-officedocument.presentationml.tags+xml"/>
  <Override PartName="/ppt/slideLayouts/slideLayout719.xml" ContentType="application/vnd.openxmlformats-officedocument.presentationml.slideLayout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158.xml" ContentType="application/vnd.openxmlformats-officedocument.presentationml.tags+xml"/>
  <Override PartName="/ppt/slideLayouts/slideLayout413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ags/tag43.xml" ContentType="application/vnd.openxmlformats-officedocument.presentationml.tags+xml"/>
  <Override PartName="/ppt/slideLayouts/slideLayout397.xml" ContentType="application/vnd.openxmlformats-officedocument.presentationml.slideLayout+xml"/>
  <Override PartName="/ppt/tags/tag344.xml" ContentType="application/vnd.openxmlformats-officedocument.presentationml.tags+xml"/>
  <Override PartName="/ppt/slideLayouts/slideLayout744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183.xml" ContentType="application/vnd.openxmlformats-officedocument.presentationml.tags+xml"/>
  <Override PartName="/ppt/slideLayouts/slideLayout583.xml" ContentType="application/vnd.openxmlformats-officedocument.presentationml.slideLayout+xml"/>
  <Override PartName="/ppt/tags/tag114.xml" ContentType="application/vnd.openxmlformats-officedocument.presentationml.tags+xml"/>
  <Override PartName="/ppt/slideLayouts/slideLayout328.xml" ContentType="application/vnd.openxmlformats-officedocument.presentationml.slideLayout+xml"/>
  <Override PartName="/ppt/slideLayouts/slideLayout514.xml" ContentType="application/vnd.openxmlformats-officedocument.presentationml.slideLayout+xml"/>
  <Override PartName="/ppt/tags/tag259.xml" ContentType="application/vnd.openxmlformats-officedocument.presentationml.tags+xml"/>
  <Override PartName="/ppt/slideLayouts/slideLayout659.xml" ContentType="application/vnd.openxmlformats-officedocument.presentationml.slideLayout+xml"/>
  <Override PartName="/ppt/theme/theme4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ags/tag300.xml" ContentType="application/vnd.openxmlformats-officedocument.presentationml.tags+xml"/>
  <Override PartName="/ppt/slideLayouts/slideLayout684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s/slide46.xml" ContentType="application/vnd.openxmlformats-officedocument.presentationml.slide+xml"/>
  <Override PartName="/ppt/slideLayouts/slideLayout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ags/tag284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Layouts/slideLayout599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slideLayouts/slideLayout454.xml" ContentType="application/vnd.openxmlformats-officedocument.presentationml.slideLayout+xml"/>
  <Override PartName="/ppt/slideLayouts/slideLayout640.xml" ContentType="application/vnd.openxmlformats-officedocument.presentationml.slideLayout+xml"/>
  <Override PartName="/ppt/theme/theme28.xml" ContentType="application/vnd.openxmlformats-officedocument.theme+xml"/>
  <Override PartName="/ppt/slideLayouts/slideLayout785.xml" ContentType="application/vnd.openxmlformats-officedocument.presentationml.slideLayout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slideMasters/slideMaster32.xml" ContentType="application/vnd.openxmlformats-officedocument.presentationml.slideMaster+xml"/>
  <Override PartName="/ppt/slideLayouts/slideLayout293.xml" ContentType="application/vnd.openxmlformats-officedocument.presentationml.slideLayout+xml"/>
  <Override PartName="/ppt/tags/tag240.xml" ContentType="application/vnd.openxmlformats-officedocument.presentationml.tags+xml"/>
  <Override PartName="/ppt/slideLayouts/slideLayout716.xml" ContentType="application/vnd.openxmlformats-officedocument.presentationml.slideLayout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ags/tag316.xml" ContentType="application/vnd.openxmlformats-officedocument.presentationml.tags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55.xml" ContentType="application/vnd.openxmlformats-officedocument.presentationml.tags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341.xml" ContentType="application/vnd.openxmlformats-officedocument.presentationml.tags+xml"/>
  <Override PartName="/ppt/slideLayouts/slideLayout741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ags/tag180.xml" ContentType="application/vnd.openxmlformats-officedocument.presentationml.tags+xml"/>
  <Override PartName="/ppt/slideLayouts/slideLayout580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ags/tag256.xml" ContentType="application/vnd.openxmlformats-officedocument.presentationml.tags+xml"/>
  <Override PartName="/ppt/slideLayouts/slideLayout656.xml" ContentType="application/vnd.openxmlformats-officedocument.presentationml.slideLayout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  <p:sldMasterId id="2147483739" r:id="rId3"/>
    <p:sldMasterId id="2147483748" r:id="rId4"/>
    <p:sldMasterId id="2147483757" r:id="rId5"/>
    <p:sldMasterId id="2147483766" r:id="rId6"/>
    <p:sldMasterId id="2147483775" r:id="rId7"/>
    <p:sldMasterId id="2147483784" r:id="rId8"/>
    <p:sldMasterId id="2147483793" r:id="rId9"/>
    <p:sldMasterId id="2147483802" r:id="rId10"/>
    <p:sldMasterId id="2147483836" r:id="rId11"/>
    <p:sldMasterId id="2147484013" r:id="rId12"/>
    <p:sldMasterId id="2147484053" r:id="rId13"/>
    <p:sldMasterId id="2147484397" r:id="rId14"/>
    <p:sldMasterId id="2147484406" r:id="rId15"/>
    <p:sldMasterId id="2147484415" r:id="rId16"/>
    <p:sldMasterId id="2147484424" r:id="rId17"/>
    <p:sldMasterId id="2147484433" r:id="rId18"/>
    <p:sldMasterId id="2147484442" r:id="rId19"/>
    <p:sldMasterId id="2147484451" r:id="rId20"/>
    <p:sldMasterId id="2147484460" r:id="rId21"/>
    <p:sldMasterId id="2147484469" r:id="rId22"/>
    <p:sldMasterId id="2147484478" r:id="rId23"/>
    <p:sldMasterId id="2147484487" r:id="rId24"/>
    <p:sldMasterId id="2147484553" r:id="rId25"/>
    <p:sldMasterId id="2147484730" r:id="rId26"/>
    <p:sldMasterId id="2147484756" r:id="rId27"/>
    <p:sldMasterId id="2147484782" r:id="rId28"/>
    <p:sldMasterId id="2147484808" r:id="rId29"/>
    <p:sldMasterId id="2147484886" r:id="rId30"/>
    <p:sldMasterId id="2147484890" r:id="rId31"/>
    <p:sldMasterId id="2147484894" r:id="rId32"/>
    <p:sldMasterId id="2147484956" r:id="rId33"/>
    <p:sldMasterId id="2147484981" r:id="rId34"/>
    <p:sldMasterId id="2147485007" r:id="rId35"/>
  </p:sldMasterIdLst>
  <p:notesMasterIdLst>
    <p:notesMasterId r:id="rId89"/>
  </p:notesMasterIdLst>
  <p:handoutMasterIdLst>
    <p:handoutMasterId r:id="rId90"/>
  </p:handoutMasterIdLst>
  <p:sldIdLst>
    <p:sldId id="501" r:id="rId36"/>
    <p:sldId id="638" r:id="rId37"/>
    <p:sldId id="528" r:id="rId38"/>
    <p:sldId id="597" r:id="rId39"/>
    <p:sldId id="598" r:id="rId40"/>
    <p:sldId id="601" r:id="rId41"/>
    <p:sldId id="577" r:id="rId42"/>
    <p:sldId id="575" r:id="rId43"/>
    <p:sldId id="578" r:id="rId44"/>
    <p:sldId id="579" r:id="rId45"/>
    <p:sldId id="580" r:id="rId46"/>
    <p:sldId id="581" r:id="rId47"/>
    <p:sldId id="582" r:id="rId48"/>
    <p:sldId id="583" r:id="rId49"/>
    <p:sldId id="545" r:id="rId50"/>
    <p:sldId id="457" r:id="rId51"/>
    <p:sldId id="607" r:id="rId52"/>
    <p:sldId id="613" r:id="rId53"/>
    <p:sldId id="608" r:id="rId54"/>
    <p:sldId id="612" r:id="rId55"/>
    <p:sldId id="614" r:id="rId56"/>
    <p:sldId id="539" r:id="rId57"/>
    <p:sldId id="540" r:id="rId58"/>
    <p:sldId id="541" r:id="rId59"/>
    <p:sldId id="542" r:id="rId60"/>
    <p:sldId id="547" r:id="rId61"/>
    <p:sldId id="549" r:id="rId62"/>
    <p:sldId id="347" r:id="rId63"/>
    <p:sldId id="507" r:id="rId64"/>
    <p:sldId id="483" r:id="rId65"/>
    <p:sldId id="486" r:id="rId66"/>
    <p:sldId id="505" r:id="rId67"/>
    <p:sldId id="503" r:id="rId68"/>
    <p:sldId id="504" r:id="rId69"/>
    <p:sldId id="550" r:id="rId70"/>
    <p:sldId id="551" r:id="rId71"/>
    <p:sldId id="615" r:id="rId72"/>
    <p:sldId id="552" r:id="rId73"/>
    <p:sldId id="553" r:id="rId74"/>
    <p:sldId id="554" r:id="rId75"/>
    <p:sldId id="616" r:id="rId76"/>
    <p:sldId id="617" r:id="rId77"/>
    <p:sldId id="618" r:id="rId78"/>
    <p:sldId id="619" r:id="rId79"/>
    <p:sldId id="620" r:id="rId80"/>
    <p:sldId id="621" r:id="rId81"/>
    <p:sldId id="622" r:id="rId82"/>
    <p:sldId id="623" r:id="rId83"/>
    <p:sldId id="555" r:id="rId84"/>
    <p:sldId id="634" r:id="rId85"/>
    <p:sldId id="631" r:id="rId86"/>
    <p:sldId id="636" r:id="rId87"/>
    <p:sldId id="635" r:id="rId88"/>
  </p:sldIdLst>
  <p:sldSz cx="12192000" cy="6858000"/>
  <p:notesSz cx="6797675" cy="9798050"/>
  <p:custDataLst>
    <p:tags r:id="rId9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Раздел по умолчанию" id="{56085DC5-45CE-42BB-A206-7827B300143A}">
          <p14:sldIdLst>
            <p14:sldId id="501"/>
            <p14:sldId id="475"/>
            <p14:sldId id="386"/>
            <p14:sldId id="424"/>
            <p14:sldId id="340"/>
            <p14:sldId id="389"/>
            <p14:sldId id="628"/>
            <p14:sldId id="629"/>
            <p14:sldId id="528"/>
            <p14:sldId id="597"/>
            <p14:sldId id="598"/>
            <p14:sldId id="599"/>
            <p14:sldId id="439"/>
            <p14:sldId id="438"/>
            <p14:sldId id="630"/>
            <p14:sldId id="473"/>
            <p14:sldId id="530"/>
            <p14:sldId id="531"/>
            <p14:sldId id="532"/>
            <p14:sldId id="533"/>
            <p14:sldId id="534"/>
            <p14:sldId id="535"/>
            <p14:sldId id="518"/>
            <p14:sldId id="536"/>
            <p14:sldId id="537"/>
            <p14:sldId id="477"/>
            <p14:sldId id="538"/>
            <p14:sldId id="476"/>
            <p14:sldId id="426"/>
            <p14:sldId id="481"/>
            <p14:sldId id="480"/>
            <p14:sldId id="479"/>
            <p14:sldId id="478"/>
            <p14:sldId id="600"/>
            <p14:sldId id="546"/>
            <p14:sldId id="602"/>
            <p14:sldId id="603"/>
            <p14:sldId id="604"/>
            <p14:sldId id="605"/>
            <p14:sldId id="606"/>
            <p14:sldId id="417"/>
            <p14:sldId id="591"/>
            <p14:sldId id="588"/>
            <p14:sldId id="592"/>
            <p14:sldId id="593"/>
            <p14:sldId id="594"/>
            <p14:sldId id="595"/>
            <p14:sldId id="596"/>
            <p14:sldId id="589"/>
            <p14:sldId id="459"/>
            <p14:sldId id="590"/>
            <p14:sldId id="458"/>
            <p14:sldId id="466"/>
            <p14:sldId id="601"/>
            <p14:sldId id="577"/>
            <p14:sldId id="575"/>
            <p14:sldId id="578"/>
            <p14:sldId id="579"/>
            <p14:sldId id="580"/>
            <p14:sldId id="581"/>
            <p14:sldId id="582"/>
            <p14:sldId id="583"/>
            <p14:sldId id="545"/>
            <p14:sldId id="457"/>
            <p14:sldId id="607"/>
            <p14:sldId id="613"/>
            <p14:sldId id="608"/>
            <p14:sldId id="612"/>
            <p14:sldId id="614"/>
            <p14:sldId id="539"/>
            <p14:sldId id="540"/>
            <p14:sldId id="541"/>
            <p14:sldId id="542"/>
            <p14:sldId id="547"/>
            <p14:sldId id="549"/>
            <p14:sldId id="347"/>
            <p14:sldId id="507"/>
            <p14:sldId id="483"/>
            <p14:sldId id="486"/>
            <p14:sldId id="505"/>
            <p14:sldId id="503"/>
            <p14:sldId id="504"/>
            <p14:sldId id="550"/>
            <p14:sldId id="551"/>
            <p14:sldId id="615"/>
            <p14:sldId id="552"/>
            <p14:sldId id="553"/>
            <p14:sldId id="554"/>
            <p14:sldId id="616"/>
            <p14:sldId id="617"/>
            <p14:sldId id="618"/>
            <p14:sldId id="619"/>
            <p14:sldId id="620"/>
            <p14:sldId id="621"/>
            <p14:sldId id="622"/>
            <p14:sldId id="623"/>
            <p14:sldId id="555"/>
            <p14:sldId id="556"/>
            <p14:sldId id="624"/>
            <p14:sldId id="557"/>
            <p14:sldId id="484"/>
            <p14:sldId id="625"/>
            <p14:sldId id="558"/>
            <p14:sldId id="559"/>
            <p14:sldId id="560"/>
            <p14:sldId id="485"/>
            <p14:sldId id="561"/>
            <p14:sldId id="562"/>
            <p14:sldId id="563"/>
            <p14:sldId id="487"/>
            <p14:sldId id="568"/>
            <p14:sldId id="572"/>
            <p14:sldId id="573"/>
            <p14:sldId id="488"/>
            <p14:sldId id="626"/>
            <p14:sldId id="627"/>
            <p14:sldId id="565"/>
            <p14:sldId id="566"/>
            <p14:sldId id="564"/>
            <p14:sldId id="567"/>
            <p14:sldId id="569"/>
            <p14:sldId id="570"/>
            <p14:sldId id="571"/>
            <p14:sldId id="490"/>
            <p14:sldId id="574"/>
            <p14:sldId id="632"/>
            <p14:sldId id="633"/>
            <p14:sldId id="634"/>
            <p14:sldId id="631"/>
            <p14:sldId id="636"/>
            <p14:sldId id="63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userDrawn="1">
          <p15:clr>
            <a:srgbClr val="A4A3A4"/>
          </p15:clr>
        </p15:guide>
        <p15:guide id="2" pos="1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D3494"/>
    <a:srgbClr val="EB2049"/>
    <a:srgbClr val="D1E7F6"/>
    <a:srgbClr val="2F3696"/>
    <a:srgbClr val="408671"/>
    <a:srgbClr val="A84A20"/>
    <a:srgbClr val="853A1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82" autoAdjust="0"/>
    <p:restoredTop sz="96305" autoAdjust="0"/>
  </p:normalViewPr>
  <p:slideViewPr>
    <p:cSldViewPr snapToGrid="0" showGuides="1">
      <p:cViewPr>
        <p:scale>
          <a:sx n="66" d="100"/>
          <a:sy n="66" d="100"/>
        </p:scale>
        <p:origin x="-744" y="-72"/>
      </p:cViewPr>
      <p:guideLst>
        <p:guide orient="horz"/>
        <p:guide pos="1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4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7.xml"/><Relationship Id="rId47" Type="http://schemas.openxmlformats.org/officeDocument/2006/relationships/slide" Target="slides/slide12.xml"/><Relationship Id="rId50" Type="http://schemas.openxmlformats.org/officeDocument/2006/relationships/slide" Target="slides/slide15.xml"/><Relationship Id="rId55" Type="http://schemas.openxmlformats.org/officeDocument/2006/relationships/slide" Target="slides/slide20.xml"/><Relationship Id="rId63" Type="http://schemas.openxmlformats.org/officeDocument/2006/relationships/slide" Target="slides/slide28.xml"/><Relationship Id="rId68" Type="http://schemas.openxmlformats.org/officeDocument/2006/relationships/slide" Target="slides/slide33.xml"/><Relationship Id="rId76" Type="http://schemas.openxmlformats.org/officeDocument/2006/relationships/slide" Target="slides/slide41.xml"/><Relationship Id="rId84" Type="http://schemas.openxmlformats.org/officeDocument/2006/relationships/slide" Target="slides/slide49.xml"/><Relationship Id="rId89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6.xml"/><Relationship Id="rId9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2.xml"/><Relationship Id="rId40" Type="http://schemas.openxmlformats.org/officeDocument/2006/relationships/slide" Target="slides/slide5.xml"/><Relationship Id="rId45" Type="http://schemas.openxmlformats.org/officeDocument/2006/relationships/slide" Target="slides/slide10.xml"/><Relationship Id="rId53" Type="http://schemas.openxmlformats.org/officeDocument/2006/relationships/slide" Target="slides/slide18.xml"/><Relationship Id="rId58" Type="http://schemas.openxmlformats.org/officeDocument/2006/relationships/slide" Target="slides/slide23.xml"/><Relationship Id="rId66" Type="http://schemas.openxmlformats.org/officeDocument/2006/relationships/slide" Target="slides/slide31.xml"/><Relationship Id="rId74" Type="http://schemas.openxmlformats.org/officeDocument/2006/relationships/slide" Target="slides/slide39.xml"/><Relationship Id="rId79" Type="http://schemas.openxmlformats.org/officeDocument/2006/relationships/slide" Target="slides/slide44.xml"/><Relationship Id="rId87" Type="http://schemas.openxmlformats.org/officeDocument/2006/relationships/slide" Target="slides/slide52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26.xml"/><Relationship Id="rId82" Type="http://schemas.openxmlformats.org/officeDocument/2006/relationships/slide" Target="slides/slide47.xml"/><Relationship Id="rId90" Type="http://schemas.openxmlformats.org/officeDocument/2006/relationships/handoutMaster" Target="handoutMasters/handoutMaster1.xml"/><Relationship Id="rId95" Type="http://schemas.openxmlformats.org/officeDocument/2006/relationships/tableStyles" Target="tableStyle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8.xml"/><Relationship Id="rId48" Type="http://schemas.openxmlformats.org/officeDocument/2006/relationships/slide" Target="slides/slide13.xml"/><Relationship Id="rId56" Type="http://schemas.openxmlformats.org/officeDocument/2006/relationships/slide" Target="slides/slide21.xml"/><Relationship Id="rId64" Type="http://schemas.openxmlformats.org/officeDocument/2006/relationships/slide" Target="slides/slide29.xml"/><Relationship Id="rId69" Type="http://schemas.openxmlformats.org/officeDocument/2006/relationships/slide" Target="slides/slide34.xml"/><Relationship Id="rId77" Type="http://schemas.openxmlformats.org/officeDocument/2006/relationships/slide" Target="slides/slide4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6.xml"/><Relationship Id="rId72" Type="http://schemas.openxmlformats.org/officeDocument/2006/relationships/slide" Target="slides/slide37.xml"/><Relationship Id="rId80" Type="http://schemas.openxmlformats.org/officeDocument/2006/relationships/slide" Target="slides/slide45.xml"/><Relationship Id="rId85" Type="http://schemas.openxmlformats.org/officeDocument/2006/relationships/slide" Target="slides/slide50.xml"/><Relationship Id="rId9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3.xml"/><Relationship Id="rId46" Type="http://schemas.openxmlformats.org/officeDocument/2006/relationships/slide" Target="slides/slide11.xml"/><Relationship Id="rId59" Type="http://schemas.openxmlformats.org/officeDocument/2006/relationships/slide" Target="slides/slide24.xml"/><Relationship Id="rId67" Type="http://schemas.openxmlformats.org/officeDocument/2006/relationships/slide" Target="slides/slide32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6.xml"/><Relationship Id="rId54" Type="http://schemas.openxmlformats.org/officeDocument/2006/relationships/slide" Target="slides/slide19.xml"/><Relationship Id="rId62" Type="http://schemas.openxmlformats.org/officeDocument/2006/relationships/slide" Target="slides/slide27.xml"/><Relationship Id="rId70" Type="http://schemas.openxmlformats.org/officeDocument/2006/relationships/slide" Target="slides/slide35.xml"/><Relationship Id="rId75" Type="http://schemas.openxmlformats.org/officeDocument/2006/relationships/slide" Target="slides/slide40.xml"/><Relationship Id="rId83" Type="http://schemas.openxmlformats.org/officeDocument/2006/relationships/slide" Target="slides/slide48.xml"/><Relationship Id="rId88" Type="http://schemas.openxmlformats.org/officeDocument/2006/relationships/slide" Target="slides/slide53.xml"/><Relationship Id="rId9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1.xml"/><Relationship Id="rId49" Type="http://schemas.openxmlformats.org/officeDocument/2006/relationships/slide" Target="slides/slide14.xml"/><Relationship Id="rId57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9.xml"/><Relationship Id="rId52" Type="http://schemas.openxmlformats.org/officeDocument/2006/relationships/slide" Target="slides/slide17.xml"/><Relationship Id="rId60" Type="http://schemas.openxmlformats.org/officeDocument/2006/relationships/slide" Target="slides/slide25.xml"/><Relationship Id="rId65" Type="http://schemas.openxmlformats.org/officeDocument/2006/relationships/slide" Target="slides/slide30.xml"/><Relationship Id="rId73" Type="http://schemas.openxmlformats.org/officeDocument/2006/relationships/slide" Target="slides/slide38.xml"/><Relationship Id="rId78" Type="http://schemas.openxmlformats.org/officeDocument/2006/relationships/slide" Target="slides/slide43.xml"/><Relationship Id="rId81" Type="http://schemas.openxmlformats.org/officeDocument/2006/relationships/slide" Target="slides/slide46.xml"/><Relationship Id="rId86" Type="http://schemas.openxmlformats.org/officeDocument/2006/relationships/slide" Target="slides/slide51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143374592"/>
        <c:axId val="144179200"/>
      </c:barChart>
      <c:catAx>
        <c:axId val="143374592"/>
        <c:scaling>
          <c:orientation val="minMax"/>
        </c:scaling>
        <c:axPos val="b"/>
        <c:numFmt formatCode="General" sourceLinked="0"/>
        <c:tickLblPos val="nextTo"/>
        <c:crossAx val="144179200"/>
        <c:crosses val="autoZero"/>
        <c:auto val="1"/>
        <c:lblAlgn val="ctr"/>
        <c:lblOffset val="100"/>
      </c:catAx>
      <c:valAx>
        <c:axId val="144179200"/>
        <c:scaling>
          <c:orientation val="minMax"/>
        </c:scaling>
        <c:axPos val="l"/>
        <c:majorGridlines/>
        <c:numFmt formatCode="General" sourceLinked="1"/>
        <c:tickLblPos val="nextTo"/>
        <c:crossAx val="143374592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144445440"/>
        <c:axId val="144446976"/>
      </c:barChart>
      <c:catAx>
        <c:axId val="144445440"/>
        <c:scaling>
          <c:orientation val="minMax"/>
        </c:scaling>
        <c:axPos val="b"/>
        <c:numFmt formatCode="General" sourceLinked="0"/>
        <c:tickLblPos val="nextTo"/>
        <c:crossAx val="144446976"/>
        <c:crosses val="autoZero"/>
        <c:auto val="1"/>
        <c:lblAlgn val="ctr"/>
        <c:lblOffset val="100"/>
      </c:catAx>
      <c:valAx>
        <c:axId val="144446976"/>
        <c:scaling>
          <c:orientation val="minMax"/>
        </c:scaling>
        <c:axPos val="l"/>
        <c:majorGridlines/>
        <c:numFmt formatCode="General" sourceLinked="1"/>
        <c:tickLblPos val="nextTo"/>
        <c:crossAx val="144445440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26.04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26.04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1963" y="1225550"/>
            <a:ext cx="5873750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30300"/>
            <a:ext cx="5426075" cy="30527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77DC141-41C0-4EEF-A082-6A7039E4C5F3}" type="slidenum">
              <a:rPr lang="ru-RU" altLang="ru-RU">
                <a:solidFill>
                  <a:srgbClr val="000000"/>
                </a:solidFill>
                <a:latin typeface="Calibri" pitchFamily="34" charset="0"/>
              </a:rPr>
              <a:pPr/>
              <a:t>2</a:t>
            </a:fld>
            <a:endParaRPr lang="ru-RU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45e7b886d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35013"/>
            <a:ext cx="6527800" cy="367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g45e7b886d4_0_0:notes"/>
          <p:cNvSpPr txBox="1">
            <a:spLocks noGrp="1"/>
          </p:cNvSpPr>
          <p:nvPr>
            <p:ph type="body" idx="1"/>
          </p:nvPr>
        </p:nvSpPr>
        <p:spPr>
          <a:xfrm>
            <a:off x="679768" y="4654074"/>
            <a:ext cx="5438140" cy="44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665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08710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14515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45e7b886d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35013"/>
            <a:ext cx="6527800" cy="367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g45e7b886d4_0_0:notes"/>
          <p:cNvSpPr txBox="1">
            <a:spLocks noGrp="1"/>
          </p:cNvSpPr>
          <p:nvPr>
            <p:ph type="body" idx="1"/>
          </p:nvPr>
        </p:nvSpPr>
        <p:spPr>
          <a:xfrm>
            <a:off x="679768" y="4654074"/>
            <a:ext cx="5438140" cy="44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665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45e7b886d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35013"/>
            <a:ext cx="6527800" cy="367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g45e7b886d4_0_0:notes"/>
          <p:cNvSpPr txBox="1">
            <a:spLocks noGrp="1"/>
          </p:cNvSpPr>
          <p:nvPr>
            <p:ph type="body" idx="1"/>
          </p:nvPr>
        </p:nvSpPr>
        <p:spPr>
          <a:xfrm>
            <a:off x="679768" y="4654074"/>
            <a:ext cx="5438140" cy="44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665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45e7b886d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35013"/>
            <a:ext cx="6527800" cy="367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g45e7b886d4_0_0:notes"/>
          <p:cNvSpPr txBox="1">
            <a:spLocks noGrp="1"/>
          </p:cNvSpPr>
          <p:nvPr>
            <p:ph type="body" idx="1"/>
          </p:nvPr>
        </p:nvSpPr>
        <p:spPr>
          <a:xfrm>
            <a:off x="679768" y="4654074"/>
            <a:ext cx="5438140" cy="44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665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4938" y="735013"/>
            <a:ext cx="6527800" cy="36734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F2CA72-66F8-884F-B27C-8D17F3D8CC2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01851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5413" y="1130300"/>
            <a:ext cx="4070350" cy="30527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77DC141-41C0-4EEF-A082-6A7039E4C5F3}" type="slidenum">
              <a:rPr lang="ru-RU" altLang="ru-RU">
                <a:solidFill>
                  <a:srgbClr val="000000"/>
                </a:solidFill>
                <a:latin typeface="Calibri" pitchFamily="34" charset="0"/>
              </a:rPr>
              <a:pPr/>
              <a:t>52</a:t>
            </a:fld>
            <a:endParaRPr lang="ru-RU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5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7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8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9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31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4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5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6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171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8.v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3.bin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4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97.v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1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2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3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06.v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1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2.bin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15.v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9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0.bin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4.v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9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0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1.bin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33.v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8.bin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9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0.bin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42.v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7.bin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8.bin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9.bin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51.v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6.bin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7.bin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8.bin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60.v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5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7.bin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69.v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4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4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4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4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4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slideMaster" Target="../slideMasters/slideMaster24.xml"/><Relationship Id="rId4" Type="http://schemas.openxmlformats.org/officeDocument/2006/relationships/tags" Target="../tags/tag22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slideMaster" Target="../slideMasters/slideMaster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5" Type="http://schemas.openxmlformats.org/officeDocument/2006/relationships/tags" Target="../tags/tag226.xml"/><Relationship Id="rId4" Type="http://schemas.openxmlformats.org/officeDocument/2006/relationships/tags" Target="../tags/tag225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4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5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5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3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4" Type="http://schemas.openxmlformats.org/officeDocument/2006/relationships/tags" Target="../tags/tag235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6.v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41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51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5" Type="http://schemas.openxmlformats.org/officeDocument/2006/relationships/tags" Target="../tags/tag256.xml"/><Relationship Id="rId4" Type="http://schemas.openxmlformats.org/officeDocument/2006/relationships/tags" Target="../tags/tag255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61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5" Type="http://schemas.openxmlformats.org/officeDocument/2006/relationships/tags" Target="../tags/tag266.xml"/><Relationship Id="rId4" Type="http://schemas.openxmlformats.org/officeDocument/2006/relationships/tags" Target="../tags/tag265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71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5" Type="http://schemas.openxmlformats.org/officeDocument/2006/relationships/tags" Target="../tags/tag276.xml"/><Relationship Id="rId4" Type="http://schemas.openxmlformats.org/officeDocument/2006/relationships/tags" Target="../tags/tag275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81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4" Type="http://schemas.openxmlformats.org/officeDocument/2006/relationships/tags" Target="../tags/tag285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5.v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291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5" Type="http://schemas.openxmlformats.org/officeDocument/2006/relationships/tags" Target="../tags/tag296.xml"/><Relationship Id="rId4" Type="http://schemas.openxmlformats.org/officeDocument/2006/relationships/tags" Target="../tags/tag295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301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5" Type="http://schemas.openxmlformats.org/officeDocument/2006/relationships/tags" Target="../tags/tag306.xml"/><Relationship Id="rId4" Type="http://schemas.openxmlformats.org/officeDocument/2006/relationships/tags" Target="../tags/tag305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311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5" Type="http://schemas.openxmlformats.org/officeDocument/2006/relationships/tags" Target="../tags/tag316.xml"/><Relationship Id="rId4" Type="http://schemas.openxmlformats.org/officeDocument/2006/relationships/tags" Target="../tags/tag31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321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5" Type="http://schemas.openxmlformats.org/officeDocument/2006/relationships/tags" Target="../tags/tag326.xml"/><Relationship Id="rId4" Type="http://schemas.openxmlformats.org/officeDocument/2006/relationships/tags" Target="../tags/tag325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331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4" Type="http://schemas.openxmlformats.org/officeDocument/2006/relationships/tags" Target="../tags/tag335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4.v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6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341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7" Type="http://schemas.openxmlformats.org/officeDocument/2006/relationships/slideMaster" Target="../slideMasters/slideMaster26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4" Type="http://schemas.openxmlformats.org/officeDocument/2006/relationships/tags" Target="../tags/tag345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7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7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7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5" Type="http://schemas.openxmlformats.org/officeDocument/2006/relationships/slideMaster" Target="../slideMasters/slideMaster27.xml"/><Relationship Id="rId4" Type="http://schemas.openxmlformats.org/officeDocument/2006/relationships/tags" Target="../tags/tag351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7" Type="http://schemas.openxmlformats.org/officeDocument/2006/relationships/slideMaster" Target="../slideMasters/slideMaster27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5" Type="http://schemas.openxmlformats.org/officeDocument/2006/relationships/tags" Target="../tags/tag356.xml"/><Relationship Id="rId4" Type="http://schemas.openxmlformats.org/officeDocument/2006/relationships/tags" Target="../tags/tag355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8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8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8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361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7" Type="http://schemas.openxmlformats.org/officeDocument/2006/relationships/slideMaster" Target="../slideMasters/slideMaster28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5" Type="http://schemas.openxmlformats.org/officeDocument/2006/relationships/tags" Target="../tags/tag366.xml"/><Relationship Id="rId4" Type="http://schemas.openxmlformats.org/officeDocument/2006/relationships/tags" Target="../tags/tag365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9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9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9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9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9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3.v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5" Type="http://schemas.openxmlformats.org/officeDocument/2006/relationships/slideMaster" Target="../slideMasters/slideMaster29.xml"/><Relationship Id="rId4" Type="http://schemas.openxmlformats.org/officeDocument/2006/relationships/tags" Target="../tags/tag371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tags" Target="../tags/tag374.xml"/><Relationship Id="rId7" Type="http://schemas.openxmlformats.org/officeDocument/2006/relationships/slideMaster" Target="../slideMasters/slideMaster29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5" Type="http://schemas.openxmlformats.org/officeDocument/2006/relationships/tags" Target="../tags/tag376.xml"/><Relationship Id="rId4" Type="http://schemas.openxmlformats.org/officeDocument/2006/relationships/tags" Target="../tags/tag375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9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30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2.bin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31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5.bin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3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3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3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3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4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4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4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4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4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1.v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5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5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70.v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9.v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5696332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92836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Белый слайд с лого и заголовком">
  <p:cSld name="Белый слайд с лого и заголовком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4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2" name="Google Shape;322;p4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3" name="Google Shape;323;p4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24" name="Google Shape;324;p42"/>
          <p:cNvSpPr/>
          <p:nvPr/>
        </p:nvSpPr>
        <p:spPr>
          <a:xfrm>
            <a:off x="380960" y="6286520"/>
            <a:ext cx="4191200" cy="5000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5" name="Google Shape;325;p42"/>
          <p:cNvSpPr/>
          <p:nvPr/>
        </p:nvSpPr>
        <p:spPr>
          <a:xfrm>
            <a:off x="0" y="0"/>
            <a:ext cx="12192000" cy="1428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42"/>
          <p:cNvSpPr txBox="1">
            <a:spLocks noGrp="1"/>
          </p:cNvSpPr>
          <p:nvPr>
            <p:ph type="ctrTitle"/>
          </p:nvPr>
        </p:nvSpPr>
        <p:spPr>
          <a:xfrm>
            <a:off x="914400" y="4003703"/>
            <a:ext cx="103632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C3393"/>
              </a:buClr>
              <a:buSzPts val="2800"/>
              <a:buFont typeface="Calibri"/>
              <a:buNone/>
              <a:defRPr sz="3733" b="0" i="0" u="none" strike="noStrike" cap="none">
                <a:solidFill>
                  <a:srgbClr val="2C339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pic>
        <p:nvPicPr>
          <p:cNvPr id="327" name="Google Shape;327;p42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143120" y="1619242"/>
            <a:ext cx="7905765" cy="18622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4427927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231259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578496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70589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4930339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516297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466590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307349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7537796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205832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3927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РУ и заголовками" type="title">
  <p:cSld name="Синий с лого РУ и заголовками"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p43"/>
          <p:cNvSpPr/>
          <p:nvPr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43"/>
          <p:cNvSpPr txBox="1">
            <a:spLocks noGrp="1"/>
          </p:cNvSpPr>
          <p:nvPr>
            <p:ph type="ctrTitle"/>
          </p:nvPr>
        </p:nvSpPr>
        <p:spPr>
          <a:xfrm>
            <a:off x="914400" y="3549644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31" name="Google Shape;331;p43"/>
          <p:cNvSpPr txBox="1">
            <a:spLocks noGrp="1"/>
          </p:cNvSpPr>
          <p:nvPr>
            <p:ph type="subTitle" idx="1"/>
          </p:nvPr>
        </p:nvSpPr>
        <p:spPr>
          <a:xfrm>
            <a:off x="1828800" y="4953011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2" name="Google Shape;332;p43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3" name="Google Shape;333;p43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4" name="Google Shape;334;p43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35" name="Google Shape;335;p43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1196697"/>
            <a:ext cx="7524804" cy="17941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7671169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711556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6745995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336908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306089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705722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9417493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06583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563478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06158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398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издательств">
  <p:cSld name="Синий с лого издательств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4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44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9" name="Google Shape;339;p44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0" name="Google Shape;340;p44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41" name="Google Shape;341;p44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2" name="Google Shape;342;p44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227602" y="1196697"/>
            <a:ext cx="9659732" cy="2303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p44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3905235" y="5668580"/>
            <a:ext cx="4089440" cy="6952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2035268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98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990065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714507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80936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704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2729475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9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4706791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2064958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86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6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408689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06201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22981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6177761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издательств и заголовком">
  <p:cSld name="Синий с лого издательств и заголовком"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45"/>
          <p:cNvSpPr/>
          <p:nvPr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" name="Google Shape;346;p45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7" name="Google Shape;347;p4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8" name="Google Shape;348;p4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49" name="Google Shape;349;p45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848750"/>
            <a:ext cx="7524804" cy="1794149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45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1" name="Google Shape;351;p45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3905235" y="5668580"/>
            <a:ext cx="4089440" cy="695205"/>
          </a:xfrm>
          <a:prstGeom prst="rect">
            <a:avLst/>
          </a:prstGeom>
          <a:noFill/>
          <a:ln>
            <a:noFill/>
          </a:ln>
        </p:spPr>
      </p:pic>
      <p:sp>
        <p:nvSpPr>
          <p:cNvPr id="352" name="Google Shape;352;p45"/>
          <p:cNvSpPr txBox="1">
            <a:spLocks noGrp="1"/>
          </p:cNvSpPr>
          <p:nvPr>
            <p:ph type="ctrTitle"/>
          </p:nvPr>
        </p:nvSpPr>
        <p:spPr>
          <a:xfrm>
            <a:off x="914400" y="2952747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53" name="Google Shape;353;p45"/>
          <p:cNvSpPr txBox="1">
            <a:spLocks noGrp="1"/>
          </p:cNvSpPr>
          <p:nvPr>
            <p:ph type="subTitle" idx="1"/>
          </p:nvPr>
        </p:nvSpPr>
        <p:spPr>
          <a:xfrm>
            <a:off x="1828800" y="4356113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1217280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0532680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83353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33841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775391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609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104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181892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6135812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88327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415293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370859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5768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 с лого РУ">
  <p:cSld name="Синий пустой с лого РУ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4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6" name="Google Shape;356;p46" descr="D:\Masha\черная пятница\!Фирменные стили и логотипы\!Российский учебник\презентация\для перезентации РУ\для-перезентации-РУ-01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191671" y="2163220"/>
            <a:ext cx="9808660" cy="27872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82354759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0541478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7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7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146231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1885841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768844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43246158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5453355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6899985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585830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446257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043542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без лого с заголовками">
  <p:cSld name="Синий без лого с заголовками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4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" name="Google Shape;359;p47"/>
          <p:cNvSpPr txBox="1">
            <a:spLocks noGrp="1"/>
          </p:cNvSpPr>
          <p:nvPr>
            <p:ph type="ctrTitle"/>
          </p:nvPr>
        </p:nvSpPr>
        <p:spPr>
          <a:xfrm>
            <a:off x="914400" y="2130425"/>
            <a:ext cx="103632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60" name="Google Shape;360;p47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1" name="Google Shape;361;p4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2" name="Google Shape;362;p4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3" name="Google Shape;363;p4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04539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773780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193343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8342689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00061959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140216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1633961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8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58325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467301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365191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703484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 (РУ лого внизу)">
  <p:cSld name="Заголовок и объект (РУ лого внизу)"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4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66" name="Google Shape;366;p48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7" name="Google Shape;367;p4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8" name="Google Shape;368;p4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9" name="Google Shape;369;p4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70" name="Google Shape;370;p48"/>
          <p:cNvSpPr/>
          <p:nvPr/>
        </p:nvSpPr>
        <p:spPr>
          <a:xfrm>
            <a:off x="380960" y="6286520"/>
            <a:ext cx="3333600" cy="5028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1" name="Google Shape;371;p48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476212" y="6269279"/>
            <a:ext cx="2095515" cy="4936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46680785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7303419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447171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1258668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60103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0257480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1572778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595112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74178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10011225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6466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 без лого">
  <p:cSld name="Заголовок и объект без лого"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p49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74" name="Google Shape;374;p49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5" name="Google Shape;375;p4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6" name="Google Shape;376;p4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" name="Google Shape;377;p4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78" name="Google Shape;378;p49"/>
          <p:cNvSpPr/>
          <p:nvPr/>
        </p:nvSpPr>
        <p:spPr>
          <a:xfrm>
            <a:off x="380960" y="6096019"/>
            <a:ext cx="4191200" cy="7144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020449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289314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4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4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661600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0860124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8707109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23444414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370673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4268666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790329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9099284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174506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50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81" name="Google Shape;381;p50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5384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" name="Google Shape;382;p50"/>
          <p:cNvSpPr txBox="1">
            <a:spLocks noGrp="1"/>
          </p:cNvSpPr>
          <p:nvPr>
            <p:ph type="body" idx="2"/>
          </p:nvPr>
        </p:nvSpPr>
        <p:spPr>
          <a:xfrm>
            <a:off x="6197600" y="1600201"/>
            <a:ext cx="5384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3" name="Google Shape;383;p50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4" name="Google Shape;384;p50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" name="Google Shape;385;p50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775788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0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4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4138672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2137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581805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8076276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185599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6601294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5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5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0476745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1175338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6623934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6413085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51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88" name="Google Shape;388;p51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8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609585" marR="0" lvl="0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" name="Google Shape;389;p51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8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0" name="Google Shape;390;p51"/>
          <p:cNvSpPr txBox="1">
            <a:spLocks noGrp="1"/>
          </p:cNvSpPr>
          <p:nvPr>
            <p:ph type="body" idx="3"/>
          </p:nvPr>
        </p:nvSpPr>
        <p:spPr>
          <a:xfrm>
            <a:off x="6193368" y="1535113"/>
            <a:ext cx="53892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609585" marR="0" lvl="0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1" name="Google Shape;391;p51"/>
          <p:cNvSpPr txBox="1">
            <a:spLocks noGrp="1"/>
          </p:cNvSpPr>
          <p:nvPr>
            <p:ph type="body" idx="4"/>
          </p:nvPr>
        </p:nvSpPr>
        <p:spPr>
          <a:xfrm>
            <a:off x="6193368" y="2174875"/>
            <a:ext cx="53892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2" name="Google Shape;392;p51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3" name="Google Shape;393;p51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4" name="Google Shape;394;p51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2095737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871836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213974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3167343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3000787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9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130810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177562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5236558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193794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936635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4605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2090902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621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колонки текста">
  <p:cSld name="2 колонки текста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Google Shape;396;p5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7" name="Google Shape;397;p5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8" name="Google Shape;398;p5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99" name="Google Shape;399;p52"/>
          <p:cNvSpPr txBox="1">
            <a:spLocks noGrp="1"/>
          </p:cNvSpPr>
          <p:nvPr>
            <p:ph type="body" idx="1"/>
          </p:nvPr>
        </p:nvSpPr>
        <p:spPr>
          <a:xfrm>
            <a:off x="609600" y="1857365"/>
            <a:ext cx="52008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0" name="Google Shape;400;p52"/>
          <p:cNvSpPr txBox="1">
            <a:spLocks noGrp="1"/>
          </p:cNvSpPr>
          <p:nvPr>
            <p:ph type="body" idx="2"/>
          </p:nvPr>
        </p:nvSpPr>
        <p:spPr>
          <a:xfrm>
            <a:off x="6381752" y="1857365"/>
            <a:ext cx="51052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1" name="Google Shape;401;p52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59963958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656110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9208692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690487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7281236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7444136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0438651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2765787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7848270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8050608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97710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рисунка с подписями">
  <p:cSld name="два рисунка с подписями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53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4" name="Google Shape;404;p53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5" name="Google Shape;405;p53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06" name="Google Shape;406;p53"/>
          <p:cNvSpPr txBox="1">
            <a:spLocks noGrp="1"/>
          </p:cNvSpPr>
          <p:nvPr>
            <p:ph type="body" idx="1"/>
          </p:nvPr>
        </p:nvSpPr>
        <p:spPr>
          <a:xfrm>
            <a:off x="609600" y="4508501"/>
            <a:ext cx="5296000" cy="16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7" name="Google Shape;407;p53"/>
          <p:cNvSpPr txBox="1">
            <a:spLocks noGrp="1"/>
          </p:cNvSpPr>
          <p:nvPr>
            <p:ph type="body" idx="2"/>
          </p:nvPr>
        </p:nvSpPr>
        <p:spPr>
          <a:xfrm>
            <a:off x="6381752" y="4508501"/>
            <a:ext cx="5238800" cy="16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8" name="Google Shape;408;p53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09" name="Google Shape;409;p53"/>
          <p:cNvSpPr>
            <a:spLocks noGrp="1"/>
          </p:cNvSpPr>
          <p:nvPr>
            <p:ph type="pic" idx="3"/>
          </p:nvPr>
        </p:nvSpPr>
        <p:spPr>
          <a:xfrm>
            <a:off x="624417" y="1785927"/>
            <a:ext cx="52812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0" name="Google Shape;410;p53"/>
          <p:cNvSpPr>
            <a:spLocks noGrp="1"/>
          </p:cNvSpPr>
          <p:nvPr>
            <p:ph type="pic" idx="4"/>
          </p:nvPr>
        </p:nvSpPr>
        <p:spPr>
          <a:xfrm>
            <a:off x="6381752" y="1785927"/>
            <a:ext cx="52388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77222991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6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7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7270082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3971428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893465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206880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384348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1889172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5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5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1203133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1811244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212031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9100386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несколько рисунков с подписями">
  <p:cSld name="несколько рисунков с подписями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54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3" name="Google Shape;413;p54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4" name="Google Shape;414;p54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5" name="Google Shape;415;p54"/>
          <p:cNvSpPr txBox="1">
            <a:spLocks noGrp="1"/>
          </p:cNvSpPr>
          <p:nvPr>
            <p:ph type="body" idx="1"/>
          </p:nvPr>
        </p:nvSpPr>
        <p:spPr>
          <a:xfrm>
            <a:off x="761963" y="3071811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" name="Google Shape;416;p54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17" name="Google Shape;417;p54"/>
          <p:cNvSpPr>
            <a:spLocks noGrp="1"/>
          </p:cNvSpPr>
          <p:nvPr>
            <p:ph type="pic" idx="2"/>
          </p:nvPr>
        </p:nvSpPr>
        <p:spPr>
          <a:xfrm>
            <a:off x="761963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" name="Google Shape;418;p54"/>
          <p:cNvSpPr>
            <a:spLocks noGrp="1"/>
          </p:cNvSpPr>
          <p:nvPr>
            <p:ph type="pic" idx="3"/>
          </p:nvPr>
        </p:nvSpPr>
        <p:spPr>
          <a:xfrm>
            <a:off x="3333731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9" name="Google Shape;419;p54"/>
          <p:cNvSpPr txBox="1">
            <a:spLocks noGrp="1"/>
          </p:cNvSpPr>
          <p:nvPr>
            <p:ph type="body" idx="4"/>
          </p:nvPr>
        </p:nvSpPr>
        <p:spPr>
          <a:xfrm>
            <a:off x="761963" y="5357825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0" name="Google Shape;420;p54"/>
          <p:cNvSpPr>
            <a:spLocks noGrp="1"/>
          </p:cNvSpPr>
          <p:nvPr>
            <p:ph type="pic" idx="5"/>
          </p:nvPr>
        </p:nvSpPr>
        <p:spPr>
          <a:xfrm>
            <a:off x="761963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1" name="Google Shape;421;p54"/>
          <p:cNvSpPr>
            <a:spLocks noGrp="1"/>
          </p:cNvSpPr>
          <p:nvPr>
            <p:ph type="pic" idx="6"/>
          </p:nvPr>
        </p:nvSpPr>
        <p:spPr>
          <a:xfrm>
            <a:off x="3333731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2" name="Google Shape;422;p54"/>
          <p:cNvSpPr txBox="1">
            <a:spLocks noGrp="1"/>
          </p:cNvSpPr>
          <p:nvPr>
            <p:ph type="body" idx="7"/>
          </p:nvPr>
        </p:nvSpPr>
        <p:spPr>
          <a:xfrm>
            <a:off x="6477003" y="3071811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3" name="Google Shape;423;p54"/>
          <p:cNvSpPr>
            <a:spLocks noGrp="1"/>
          </p:cNvSpPr>
          <p:nvPr>
            <p:ph type="pic" idx="8"/>
          </p:nvPr>
        </p:nvSpPr>
        <p:spPr>
          <a:xfrm>
            <a:off x="6477003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4" name="Google Shape;424;p54"/>
          <p:cNvSpPr>
            <a:spLocks noGrp="1"/>
          </p:cNvSpPr>
          <p:nvPr>
            <p:ph type="pic" idx="9"/>
          </p:nvPr>
        </p:nvSpPr>
        <p:spPr>
          <a:xfrm>
            <a:off x="9048771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5" name="Google Shape;425;p54"/>
          <p:cNvSpPr txBox="1">
            <a:spLocks noGrp="1"/>
          </p:cNvSpPr>
          <p:nvPr>
            <p:ph type="body" idx="13"/>
          </p:nvPr>
        </p:nvSpPr>
        <p:spPr>
          <a:xfrm>
            <a:off x="6477003" y="5357825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6" name="Google Shape;426;p54"/>
          <p:cNvSpPr>
            <a:spLocks noGrp="1"/>
          </p:cNvSpPr>
          <p:nvPr>
            <p:ph type="pic" idx="14"/>
          </p:nvPr>
        </p:nvSpPr>
        <p:spPr>
          <a:xfrm>
            <a:off x="6477003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7" name="Google Shape;427;p54"/>
          <p:cNvSpPr>
            <a:spLocks noGrp="1"/>
          </p:cNvSpPr>
          <p:nvPr>
            <p:ph type="pic" idx="15"/>
          </p:nvPr>
        </p:nvSpPr>
        <p:spPr>
          <a:xfrm>
            <a:off x="9048771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50342998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4264047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4017018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8386918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5151804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2591776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8128417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193083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65529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2353806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38687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-ре блока с заголовками">
  <p:cSld name="4-ре блока с заголовками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55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30" name="Google Shape;430;p55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1" name="Google Shape;431;p5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2" name="Google Shape;432;p5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33" name="Google Shape;433;p55"/>
          <p:cNvSpPr txBox="1">
            <a:spLocks noGrp="1"/>
          </p:cNvSpPr>
          <p:nvPr>
            <p:ph type="body" idx="1"/>
          </p:nvPr>
        </p:nvSpPr>
        <p:spPr>
          <a:xfrm>
            <a:off x="624417" y="2071677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4" name="Google Shape;434;p55"/>
          <p:cNvSpPr txBox="1">
            <a:spLocks noGrp="1"/>
          </p:cNvSpPr>
          <p:nvPr>
            <p:ph type="body" idx="2"/>
          </p:nvPr>
        </p:nvSpPr>
        <p:spPr>
          <a:xfrm>
            <a:off x="624417" y="1571612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5" name="Google Shape;435;p55"/>
          <p:cNvSpPr txBox="1">
            <a:spLocks noGrp="1"/>
          </p:cNvSpPr>
          <p:nvPr>
            <p:ph type="body" idx="3"/>
          </p:nvPr>
        </p:nvSpPr>
        <p:spPr>
          <a:xfrm>
            <a:off x="624417" y="4357693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6" name="Google Shape;436;p55"/>
          <p:cNvSpPr txBox="1">
            <a:spLocks noGrp="1"/>
          </p:cNvSpPr>
          <p:nvPr>
            <p:ph type="body" idx="4"/>
          </p:nvPr>
        </p:nvSpPr>
        <p:spPr>
          <a:xfrm>
            <a:off x="624417" y="3857628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7" name="Google Shape;437;p55"/>
          <p:cNvSpPr txBox="1">
            <a:spLocks noGrp="1"/>
          </p:cNvSpPr>
          <p:nvPr>
            <p:ph type="body" idx="5"/>
          </p:nvPr>
        </p:nvSpPr>
        <p:spPr>
          <a:xfrm>
            <a:off x="6286501" y="2071677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8" name="Google Shape;438;p55"/>
          <p:cNvSpPr txBox="1">
            <a:spLocks noGrp="1"/>
          </p:cNvSpPr>
          <p:nvPr>
            <p:ph type="body" idx="6"/>
          </p:nvPr>
        </p:nvSpPr>
        <p:spPr>
          <a:xfrm>
            <a:off x="6286501" y="1571612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9" name="Google Shape;439;p55"/>
          <p:cNvSpPr txBox="1">
            <a:spLocks noGrp="1"/>
          </p:cNvSpPr>
          <p:nvPr>
            <p:ph type="body" idx="7"/>
          </p:nvPr>
        </p:nvSpPr>
        <p:spPr>
          <a:xfrm>
            <a:off x="6286501" y="4357693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0" name="Google Shape;440;p55"/>
          <p:cNvSpPr txBox="1">
            <a:spLocks noGrp="1"/>
          </p:cNvSpPr>
          <p:nvPr>
            <p:ph type="body" idx="8"/>
          </p:nvPr>
        </p:nvSpPr>
        <p:spPr>
          <a:xfrm>
            <a:off x="6286501" y="3857628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16325419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0561657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5632446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5548305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5710992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36185685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4765856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4802907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7946921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685849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487373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блока с заголовками и пояснениями">
  <p:cSld name="три блока с заголовками и пояснениями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56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43" name="Google Shape;443;p56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4" name="Google Shape;444;p56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5" name="Google Shape;445;p56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46" name="Google Shape;446;p56"/>
          <p:cNvSpPr>
            <a:spLocks noGrp="1"/>
          </p:cNvSpPr>
          <p:nvPr>
            <p:ph type="body" idx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7" name="Google Shape;447;p56"/>
          <p:cNvSpPr>
            <a:spLocks noGrp="1"/>
          </p:cNvSpPr>
          <p:nvPr>
            <p:ph type="body" idx="2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8" name="Google Shape;448;p56"/>
          <p:cNvSpPr>
            <a:spLocks noGrp="1"/>
          </p:cNvSpPr>
          <p:nvPr>
            <p:ph type="body" idx="3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9" name="Google Shape;449;p56"/>
          <p:cNvSpPr txBox="1">
            <a:spLocks noGrp="1"/>
          </p:cNvSpPr>
          <p:nvPr>
            <p:ph type="body" idx="4"/>
          </p:nvPr>
        </p:nvSpPr>
        <p:spPr>
          <a:xfrm>
            <a:off x="480000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0" name="Google Shape;450;p56"/>
          <p:cNvSpPr txBox="1">
            <a:spLocks noGrp="1"/>
          </p:cNvSpPr>
          <p:nvPr>
            <p:ph type="body" idx="5"/>
          </p:nvPr>
        </p:nvSpPr>
        <p:spPr>
          <a:xfrm>
            <a:off x="4344784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1" name="Google Shape;451;p56"/>
          <p:cNvSpPr txBox="1">
            <a:spLocks noGrp="1"/>
          </p:cNvSpPr>
          <p:nvPr>
            <p:ph type="body" idx="6"/>
          </p:nvPr>
        </p:nvSpPr>
        <p:spPr>
          <a:xfrm>
            <a:off x="8209567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2" name="Google Shape;452;p56"/>
          <p:cNvSpPr txBox="1">
            <a:spLocks noGrp="1"/>
          </p:cNvSpPr>
          <p:nvPr>
            <p:ph type="body" idx="7"/>
          </p:nvPr>
        </p:nvSpPr>
        <p:spPr>
          <a:xfrm>
            <a:off x="480000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3" name="Google Shape;453;p56"/>
          <p:cNvSpPr txBox="1">
            <a:spLocks noGrp="1"/>
          </p:cNvSpPr>
          <p:nvPr>
            <p:ph type="body" idx="8"/>
          </p:nvPr>
        </p:nvSpPr>
        <p:spPr>
          <a:xfrm>
            <a:off x="4344784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4" name="Google Shape;454;p56"/>
          <p:cNvSpPr txBox="1">
            <a:spLocks noGrp="1"/>
          </p:cNvSpPr>
          <p:nvPr>
            <p:ph type="body" idx="9"/>
          </p:nvPr>
        </p:nvSpPr>
        <p:spPr>
          <a:xfrm>
            <a:off x="8209567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687654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8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9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7895130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0939720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479036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79154685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2993788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4530803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7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6369403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9943803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8736078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66288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блока с заголовками">
  <p:cSld name="два блока с заголовками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5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7" name="Google Shape;457;p5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8" name="Google Shape;458;p5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59" name="Google Shape;459;p57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60" name="Google Shape;460;p57"/>
          <p:cNvSpPr txBox="1">
            <a:spLocks noGrp="1"/>
          </p:cNvSpPr>
          <p:nvPr>
            <p:ph type="body" idx="1"/>
          </p:nvPr>
        </p:nvSpPr>
        <p:spPr>
          <a:xfrm>
            <a:off x="59470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1" name="Google Shape;461;p57"/>
          <p:cNvSpPr txBox="1">
            <a:spLocks noGrp="1"/>
          </p:cNvSpPr>
          <p:nvPr>
            <p:ph type="body" idx="2"/>
          </p:nvPr>
        </p:nvSpPr>
        <p:spPr>
          <a:xfrm>
            <a:off x="594708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2" name="Google Shape;462;p57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3" name="Google Shape;463;p57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00414584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55363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468910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1749959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082840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4950378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9174560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21454251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4642714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20386206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3135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(2+1) блока текста с заголовками">
  <p:cSld name="Три (2+1) блока текста с заголовками"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5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6" name="Google Shape;466;p5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7" name="Google Shape;467;p5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8" name="Google Shape;468;p58"/>
          <p:cNvSpPr txBox="1">
            <a:spLocks noGrp="1"/>
          </p:cNvSpPr>
          <p:nvPr>
            <p:ph type="body" idx="1"/>
          </p:nvPr>
        </p:nvSpPr>
        <p:spPr>
          <a:xfrm>
            <a:off x="59470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9" name="Google Shape;469;p5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70" name="Google Shape;470;p58"/>
          <p:cNvSpPr txBox="1">
            <a:spLocks noGrp="1"/>
          </p:cNvSpPr>
          <p:nvPr>
            <p:ph type="body" idx="2"/>
          </p:nvPr>
        </p:nvSpPr>
        <p:spPr>
          <a:xfrm>
            <a:off x="594708" y="2143117"/>
            <a:ext cx="52388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1" name="Google Shape;471;p58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2" name="Google Shape;472;p58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3" name="Google Shape;473;p58"/>
          <p:cNvSpPr txBox="1">
            <a:spLocks noGrp="1"/>
          </p:cNvSpPr>
          <p:nvPr>
            <p:ph type="body" idx="5"/>
          </p:nvPr>
        </p:nvSpPr>
        <p:spPr>
          <a:xfrm>
            <a:off x="594709" y="3925895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4" name="Google Shape;474;p58"/>
          <p:cNvSpPr txBox="1">
            <a:spLocks noGrp="1"/>
          </p:cNvSpPr>
          <p:nvPr>
            <p:ph type="body" idx="6"/>
          </p:nvPr>
        </p:nvSpPr>
        <p:spPr>
          <a:xfrm>
            <a:off x="594708" y="4429133"/>
            <a:ext cx="5238800" cy="1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10425771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184249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2163329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9814092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6516801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26831297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9345646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7324740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6448827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9302400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6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244602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(1+2) блока текста с заголовками">
  <p:cSld name="Три (1+2) блока текста с заголовками">
    <p:spTree>
      <p:nvGrpSpPr>
        <p:cNvPr id="1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p5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7" name="Google Shape;477;p5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8" name="Google Shape;478;p5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79" name="Google Shape;479;p59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80" name="Google Shape;480;p59"/>
          <p:cNvSpPr txBox="1">
            <a:spLocks noGrp="1"/>
          </p:cNvSpPr>
          <p:nvPr>
            <p:ph type="body" idx="1"/>
          </p:nvPr>
        </p:nvSpPr>
        <p:spPr>
          <a:xfrm>
            <a:off x="62441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1" name="Google Shape;481;p59"/>
          <p:cNvSpPr txBox="1">
            <a:spLocks noGrp="1"/>
          </p:cNvSpPr>
          <p:nvPr>
            <p:ph type="body" idx="2"/>
          </p:nvPr>
        </p:nvSpPr>
        <p:spPr>
          <a:xfrm>
            <a:off x="624417" y="2143116"/>
            <a:ext cx="5238800" cy="4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2" name="Google Shape;482;p59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3" name="Google Shape;483;p59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4" name="Google Shape;484;p59"/>
          <p:cNvSpPr txBox="1">
            <a:spLocks noGrp="1"/>
          </p:cNvSpPr>
          <p:nvPr>
            <p:ph type="body" idx="5"/>
          </p:nvPr>
        </p:nvSpPr>
        <p:spPr>
          <a:xfrm>
            <a:off x="6286503" y="3929067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5" name="Google Shape;485;p59"/>
          <p:cNvSpPr txBox="1">
            <a:spLocks noGrp="1"/>
          </p:cNvSpPr>
          <p:nvPr>
            <p:ph type="body" idx="6"/>
          </p:nvPr>
        </p:nvSpPr>
        <p:spPr>
          <a:xfrm>
            <a:off x="6286501" y="4429133"/>
            <a:ext cx="5238800" cy="1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4488978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5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9374423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06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8077588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06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56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9091835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0296278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3771240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68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284677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260957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62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305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44440114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373808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62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5517534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 слева">
  <p:cSld name="Объект с подписью слева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60"/>
          <p:cNvSpPr txBox="1">
            <a:spLocks noGrp="1"/>
          </p:cNvSpPr>
          <p:nvPr>
            <p:ph type="body" idx="1"/>
          </p:nvPr>
        </p:nvSpPr>
        <p:spPr>
          <a:xfrm>
            <a:off x="4766733" y="1857365"/>
            <a:ext cx="68156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8" name="Google Shape;488;p60"/>
          <p:cNvSpPr txBox="1">
            <a:spLocks noGrp="1"/>
          </p:cNvSpPr>
          <p:nvPr>
            <p:ph type="body" idx="2"/>
          </p:nvPr>
        </p:nvSpPr>
        <p:spPr>
          <a:xfrm>
            <a:off x="609601" y="1857365"/>
            <a:ext cx="40112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9" name="Google Shape;489;p60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0" name="Google Shape;490;p60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1" name="Google Shape;491;p60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92" name="Google Shape;492;p60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72577407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4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716005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7929486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63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63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5155791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171384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44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44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6711042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128493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3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3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245512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24614601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15683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5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7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80273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61"/>
          <p:cNvSpPr txBox="1">
            <a:spLocks noGrp="1"/>
          </p:cNvSpPr>
          <p:nvPr>
            <p:ph type="title"/>
          </p:nvPr>
        </p:nvSpPr>
        <p:spPr>
          <a:xfrm>
            <a:off x="2389717" y="4800600"/>
            <a:ext cx="7315200" cy="5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Calibri"/>
              <a:buNone/>
              <a:defRPr sz="2667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95" name="Google Shape;495;p61"/>
          <p:cNvSpPr>
            <a:spLocks noGrp="1"/>
          </p:cNvSpPr>
          <p:nvPr>
            <p:ph type="pic" idx="2"/>
          </p:nvPr>
        </p:nvSpPr>
        <p:spPr>
          <a:xfrm>
            <a:off x="2389717" y="1643051"/>
            <a:ext cx="7315200" cy="30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6" name="Google Shape;496;p61"/>
          <p:cNvSpPr txBox="1">
            <a:spLocks noGrp="1"/>
          </p:cNvSpPr>
          <p:nvPr>
            <p:ph type="body" idx="1"/>
          </p:nvPr>
        </p:nvSpPr>
        <p:spPr>
          <a:xfrm>
            <a:off x="2389717" y="5367337"/>
            <a:ext cx="7315200" cy="8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7" name="Google Shape;497;p61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8" name="Google Shape;498;p61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9" name="Google Shape;499;p61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00" name="Google Shape;500;p61"/>
          <p:cNvSpPr txBox="1"/>
          <p:nvPr/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b" anchorCtr="0">
            <a:noAutofit/>
          </a:bodyPr>
          <a:lstStyle/>
          <a:p>
            <a:pPr>
              <a:buClr>
                <a:srgbClr val="000000"/>
              </a:buClr>
              <a:buSzPts val="2800"/>
              <a:buFont typeface="Arial"/>
              <a:buNone/>
            </a:pPr>
            <a:r>
              <a:rPr lang="ru-RU" sz="3733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Образец заголовка</a:t>
            </a:r>
            <a:endParaRPr sz="1867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588011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5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7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8175023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2764967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42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8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44731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88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1005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8902008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68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09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1084227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47814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098386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08759567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012801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59797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9492727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724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78201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социальными сетями">
  <p:cSld name="Синий с социальными сетями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6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6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4" name="Google Shape;504;p6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5" name="Google Shape;505;p6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06" name="Google Shape;506;p62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605330"/>
            <a:ext cx="7524804" cy="1794149"/>
          </a:xfrm>
          <a:prstGeom prst="rect">
            <a:avLst/>
          </a:prstGeom>
          <a:noFill/>
          <a:ln>
            <a:noFill/>
          </a:ln>
        </p:spPr>
      </p:pic>
      <p:sp>
        <p:nvSpPr>
          <p:cNvPr id="507" name="Google Shape;507;p62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" name="Google Shape;508;p62"/>
          <p:cNvSpPr txBox="1"/>
          <p:nvPr/>
        </p:nvSpPr>
        <p:spPr>
          <a:xfrm>
            <a:off x="3126277" y="5814516"/>
            <a:ext cx="6621200" cy="45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600"/>
              <a:buFont typeface="Arial"/>
              <a:buNone/>
            </a:pPr>
            <a:r>
              <a:rPr lang="ru-RU" sz="2133">
                <a:solidFill>
                  <a:srgbClr val="515151"/>
                </a:solidFill>
                <a:latin typeface="Calibri"/>
                <a:ea typeface="Calibri"/>
                <a:cs typeface="Calibri"/>
                <a:sym typeface="Calibri"/>
              </a:rPr>
              <a:t>ros.uchebnik	rosuchebnik	rosuchebnik</a:t>
            </a:r>
            <a:endParaRPr sz="2133">
              <a:solidFill>
                <a:srgbClr val="51515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9" name="Google Shape;509;p62" descr="C:\Users\zgonnik.m\Desktop\001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2639439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10" name="Google Shape;510;p62" descr="C:\Users\zgonnik.m\Desktop\002.png"/>
          <p:cNvPicPr preferRelativeResize="0"/>
          <p:nvPr/>
        </p:nvPicPr>
        <p:blipFill rotWithShape="1">
          <a:blip r:embed="rId4" cstate="print">
            <a:alphaModFix/>
          </a:blip>
          <a:srcRect/>
          <a:stretch/>
        </p:blipFill>
        <p:spPr>
          <a:xfrm>
            <a:off x="5024955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11" name="Google Shape;511;p62" descr="C:\Users\zgonnik.m\Desktop\003.png"/>
          <p:cNvPicPr preferRelativeResize="0"/>
          <p:nvPr/>
        </p:nvPicPr>
        <p:blipFill rotWithShape="1">
          <a:blip r:embed="rId5" cstate="print">
            <a:alphaModFix/>
          </a:blip>
          <a:srcRect/>
          <a:stretch/>
        </p:blipFill>
        <p:spPr>
          <a:xfrm>
            <a:off x="7459155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sp>
        <p:nvSpPr>
          <p:cNvPr id="512" name="Google Shape;512;p62"/>
          <p:cNvSpPr txBox="1">
            <a:spLocks noGrp="1"/>
          </p:cNvSpPr>
          <p:nvPr>
            <p:ph type="ctrTitle"/>
          </p:nvPr>
        </p:nvSpPr>
        <p:spPr>
          <a:xfrm>
            <a:off x="914400" y="2857496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513" name="Google Shape;513;p62"/>
          <p:cNvSpPr txBox="1"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41261715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17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3624603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5277836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0161662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02960361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476170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1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0064752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1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6383259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1123482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6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7468073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1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9613441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0636654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65591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6090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66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5680018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66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16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4036344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8808474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5132274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28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9665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946347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22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65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82041086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0679284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22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57320265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0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040707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86035342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66615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7466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1224993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37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37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93609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1972165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04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04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1379092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4958839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79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79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887210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52427124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5974703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1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3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7581662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1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3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57056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13190217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763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5679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4241248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02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4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858654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68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65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4992016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5605417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4852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51123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91733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4955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390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889126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057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0081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1169820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159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6404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420003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26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05925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8375242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5364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5319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0906453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5467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30953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5444794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866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37878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5694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514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5605417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57742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51123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91733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58766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390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889126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979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0081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1169820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081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6404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420003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183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05925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8375242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62862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5319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0906453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6388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30953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4910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514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906994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7003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8450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3822566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968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55209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9790758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7105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27943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7864759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207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6047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3490626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310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96596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7286314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412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89188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899693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7515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996458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3857412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7617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11813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719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15109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27744657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027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9012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75192772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129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498122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462173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231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09154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605745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70711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98965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8656612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334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4041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468491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436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87869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50427568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8539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45929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305240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8641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921988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743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33085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7265173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948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42044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1450172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9051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94999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6460033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153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303139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6483779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255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030841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1988821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358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914868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6263269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71735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85983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4393656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9460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28056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3668431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9563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6790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6654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78513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913359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0075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87136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52994347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01774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755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5620510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02798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85682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7730541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38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6324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3631486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484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25418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1389401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587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61703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7108729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06894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304688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2759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87297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25482499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7918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59827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5774573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0996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379684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2146990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1099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14890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066175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1201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27025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89687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303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969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5517235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406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07008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7582611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508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92468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171714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1611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652749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23588025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7134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62107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3352015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19182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65855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7753952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74807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58605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5393221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2020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5216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235329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2123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8991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0413232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225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28247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417972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327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49515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11709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430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15751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8900274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2532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351155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707480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6350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27780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4840973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3146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770058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8034616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32493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39510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5356766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33517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8680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2648318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826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1488948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75831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63486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4840790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454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3202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706518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556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80134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4729709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658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15558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6746378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37613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17801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8216393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8637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20457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310602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40685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00499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028529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4170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057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7402061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4273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83365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0462713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375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93364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062509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478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45398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64218526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685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04211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2958359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580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34694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5815840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4682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049535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0120482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7853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72833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9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42984"/>
            <a:ext cx="7524803" cy="13456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6340938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2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6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97840414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9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42984"/>
            <a:ext cx="7524803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5" y="5870922"/>
            <a:ext cx="4381531" cy="558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8802919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2775536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6501017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9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254591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150544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335680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787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5930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762616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1053349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3719284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869609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81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81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6907118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666712" y="1643050"/>
          <a:ext cx="5048285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6381752" y="1643050"/>
          <a:ext cx="5048285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128559815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94286997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7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7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660199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032237980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565335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631630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890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289538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16763332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7771638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6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2317149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6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1297686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42372550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075607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6328588"/>
            <a:ext cx="4368485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2553311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1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0297364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898279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624034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6035934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79927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175712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1439893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0548046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7078565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3204323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967197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46136168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3395296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32691790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6568001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388805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858723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80951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69828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6716370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0564478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5959294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0326889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3332253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75109107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13020737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6455941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0913909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561418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1975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50611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72968046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4345082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3793361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796844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98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99633497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5895317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1361411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704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921966022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9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3957867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933811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0721225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84023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2098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86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6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28302386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2504761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82165185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182833056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0699074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2376575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0727091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41040259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609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104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1332663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11594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5963673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85047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4812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88843639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5867736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439420296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7792898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45991066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7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7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2189068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77145480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5325159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285243285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410956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6242469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607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61473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2070368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088796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84619212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54707318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06751587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85565543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1997567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269780996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23854594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95135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4528497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128647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0413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602794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709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11789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8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0232772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7996846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90220218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85270002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6734594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4409749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04797730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49917234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8448906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22575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4509973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811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4145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784825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438517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54694701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5674676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9348219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4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4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1301072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65179888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0422439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732343768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001205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9776485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89143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33712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49682102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59033583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56997968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9720572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0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4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945204286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0593082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0239173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15587378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342372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684898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754155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90167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313586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5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5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0958508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87203656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7718912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40165249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8293107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08816516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97735830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91021318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9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59542891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999487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1191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4172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53524852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26429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70201027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876987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88321322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6716151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4903940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28042361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63690855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96176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89668829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9323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871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57785242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249845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03351463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92793692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6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7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795595088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00711489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63028007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66661907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2646194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477806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359766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9426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95217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5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5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5933801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5863951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9739599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70149794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3069130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7086698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1786413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39113250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2033539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604818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299932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528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7298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27002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96594336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4106015981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20066995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22041695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45276054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66933430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33329038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8922279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361060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7195544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631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17614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6884264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48739755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34619305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34030315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8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9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62345685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204915432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42605527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56905104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33478513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158192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1355079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733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497110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7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71533032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1910056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60510893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70716285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03250386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4049621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2008162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45794055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0040793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11818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5295282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0126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8055488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9835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187018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17204332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9218264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464485558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3316597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75807434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4949254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79154881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59217261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8087541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387834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0858484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99383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60160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7568880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7810755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70220811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6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35390980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772392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16039461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12237929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80200162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68227565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611780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0407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22172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62764643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669876967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18136354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87685873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5713958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3539239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170865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71951994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99470859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387040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142956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02455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240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30798024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53737388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51581774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80193400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12267329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76170256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209050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3252737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9013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421329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1293778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0347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2439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16146335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417445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23219326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1432417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758475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1996395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01999359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8119950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70449389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933987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05233039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450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45428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7626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87108585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87615406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79666907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33820456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25181380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150487552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60621691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8610251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169632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5833218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552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96992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39284445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0178969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77426999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167866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9842153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06668073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76089353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33538680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72018990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914634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8882166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655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71581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1906807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604595883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14812314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80770870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91523076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0344296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09182589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2025181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85472334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961780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4767822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07575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2234529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83187814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036899019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68922430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5118364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700404619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63148025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08023084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1367320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51431633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297255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2188908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0859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48834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488613111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83854827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03404949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59753117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891100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7442245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035399670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230064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992067593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3266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46249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65552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9623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29931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579174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34556950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67395802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40771163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04204904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04279109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668784099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21328873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04029495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8375856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474070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1474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118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42474418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50881823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4381478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46631380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7246338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194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44622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9696526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5296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73305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2411864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603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12012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9203007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5706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3353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2F096B-1574-4578-8EB5-9C370FBB477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6242852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EDAE37-5C54-4955-AF31-B2C3CD20590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977453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7435748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576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58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56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465A19-6CBB-4D25-97DE-98E9CAA260F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4508727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82BAA3-E600-48E4-A10A-DA72B960B9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24514339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F4DD9A-2DC0-401A-B2B8-DEC21530F5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30331080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60BA8D-39D9-49F9-9F4E-0951122150A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96606827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B54B85-574F-40C7-8AA1-69EC22C1198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3044704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2E4D29-7CBC-42C4-9C72-23D549987B9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176703345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9BEBE5-5C08-45FB-B054-EAD4BD9838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93747473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0285E6-FDC1-422E-9A79-090B8CC5E2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87844495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F734B5-76D4-47B9-A97D-4F207EDC22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759951883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1B0459-9B60-42F6-9746-CE2A5656352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CF46A-40F9-4C20-AAE9-B6EB9E13D5B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058074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075689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679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7579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3" y="5870575"/>
            <a:ext cx="43815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191" y="2286000"/>
            <a:ext cx="10189633" cy="217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4F7DCE-086C-4597-B309-C8C153068D5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B202BBB-A699-4E0B-B095-FC046C3391E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35171395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3" y="5870575"/>
            <a:ext cx="43815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D38BC-DD4A-484F-965A-CD4311E8444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94B26C-5989-4E61-84CC-C6939D0A2C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26522943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91" y="2409825"/>
            <a:ext cx="9808633" cy="209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771674630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1193658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025CD-B07F-475F-B79C-F1235DE7FF3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39F3D4-342F-48B3-A730-DCEC5B56E44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642987880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50971-1C41-4BAB-85FC-BF8AB904D47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5DA21C-B966-4D31-B234-08957F01743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22565791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143625"/>
            <a:ext cx="4191000" cy="6429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2" y="6276975"/>
            <a:ext cx="24765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EE9D8-C662-4022-A2F5-4D364CA911B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24C759-CA31-4394-8596-791D0CED1E5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162964932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215063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5509BF-62A1-4083-A362-A2CBA54158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0B373F-C6E4-467F-B431-5EEF11C479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10621475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143625"/>
            <a:ext cx="4191000" cy="6429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185" y="1214438"/>
            <a:ext cx="8492067" cy="150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3830651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C8DC65-3211-4D44-B85C-5E1B9F25EEC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475F65-40E7-4F89-BB89-47B9588387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84789644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000837"/>
            <a:ext cx="4191000" cy="7858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7"/>
            <a:ext cx="11684160" cy="60706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AC4C55-3870-4530-940B-4276696B118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F8EC5D-CF43-48A1-B77F-10B8217E704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365563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0774384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781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80823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1526E6-F821-41A1-8E50-5C376C7C27E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718411-B035-4C6D-98FD-56E73935A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11769567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25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25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3B72E-EECE-415E-93F9-8D2FD9E6D01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CE82A4-AC6B-46D8-9175-113952D9F1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0090802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A4C54-6CAC-4B06-80E0-B134DF83038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416EC6F-ADCB-420E-BFD8-9B6B55A917F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48165977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87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8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26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6613CC-0671-4222-AB1C-8ABF233AEE9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C828E2E-C6EE-45D3-B252-994FCE3A4AB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9374458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21" name="Дата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918424-8107-4608-9BD5-30FC25631ED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FD79E1DA-97D9-4CF9-84E1-DC6F5D08EB0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24305596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DEC50-253E-436F-B7D4-1718224A792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43FD7C1E-107A-458A-9C04-3460DC651F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11155979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4F122-8A95-4532-B743-56FC9C1CC93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Нижний колонтитул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5DEF0EBB-CE81-4864-9C37-7FC25CC5851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03309408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36921E-583D-4378-B60D-5B77AF2F868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8BCB13B8-36E2-406F-AFF0-39A0648AEE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7680966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4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2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24B04-74B2-423F-8C42-B11C1ADB0F5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B2A40776-520D-45D6-A604-3EA3CA29EEA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404111430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2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EE8BF-2F2D-4662-8011-6AF2AD144E1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3DD1DA1D-82E3-44C7-ADA2-91D7B34CA0A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256838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4403936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1883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37348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F3D74-E290-471E-9F04-FE636E06AB2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22DEBC-DE10-45D2-980C-797978E9182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0650459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800" smtClean="0">
                <a:solidFill>
                  <a:prstClr val="white"/>
                </a:solidFill>
                <a:latin typeface="Calibri" panose="020F0502020204030204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FC92C7-DD79-44B1-88CE-2BD59DE6D7F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607F59-8A88-4D44-A5B5-4D92C02ECD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683631764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126320" y="5948450"/>
            <a:ext cx="6620933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.uchebnik</a:t>
            </a:r>
            <a:r>
              <a:rPr lang="ru-RU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uchebnik</a:t>
            </a:r>
            <a:r>
              <a:rPr lang="ru-RU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uchebnik</a:t>
            </a:r>
            <a:endParaRPr lang="ru-RU" altLang="ru-RU" sz="1600" smtClean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7" y="5911850"/>
            <a:ext cx="535516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8" y="5911850"/>
            <a:ext cx="535517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6" y="5911850"/>
            <a:ext cx="535517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3AEF16-A4E0-4E81-B0F5-92B73357BAF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91B174-4655-4C5E-8599-9C3E0B1277A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09545711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96977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6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1CF39E0-CE30-4E60-BC34-3FF6B56C943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E327E6D-D27E-4D35-AAF0-CC646474383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1596099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69" y="1196975"/>
            <a:ext cx="9660467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9006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09775E-8A41-4E39-83B7-E5AF09D30FA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C78D1AE-9922-4D45-B5AD-529B50D9FD9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834987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849315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9006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72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A562487-96CD-4448-8C6E-C00609FD5408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E726D64-5B6A-4ACB-945C-81C7DC19BE0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85097784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91" y="2163763"/>
            <a:ext cx="9808633" cy="278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6412927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1113392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8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48A0541-9F51-4D7F-BF64-34E0ABFE30A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F259510-8BFB-4630-A366-CD15908EC7B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01214076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2957775-4F04-4217-836B-0E57FC1C432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80E6488-13A3-4092-A328-48EDF45D48B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0763882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4811581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19863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985663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12" y="6286500"/>
            <a:ext cx="3333751" cy="503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1" y="6269038"/>
            <a:ext cx="20955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709BF12-E6A0-4B25-A5AA-D8EC444D8CE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3F32C67-4862-402F-A8A0-A5B6C5F8958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49482047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096043"/>
            <a:ext cx="4191000" cy="714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5F9A326-60AC-4364-B24C-911F01B14A3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F008B5F-7249-4D8E-84F0-92001D76584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174781262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286543"/>
            <a:ext cx="419100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069" y="1619250"/>
            <a:ext cx="7907867" cy="18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7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18AAEC4-AEA6-43A4-BC8D-A9BAA559FD3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49FF87D-2736-4940-9556-14B38990E99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06837400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85751" y="6262688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9"/>
            <a:ext cx="11684160" cy="5975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8329549-1ED0-4FF4-920E-9524CC5D2206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B122249-AE5B-4877-B07F-48927A6C035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92135503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30B6031-C094-4653-97F1-8B1B8DA32B6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4E408623-4C57-4DCC-ACB7-7A254C2F634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02688424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08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08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8B92A1C-95BB-4E8A-9680-B46A9789BCB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F9C34BA-0599-4C47-AC5C-ADEDAC6D2AD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42583563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9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9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9196A22-2044-4EAD-A7B3-FAD1D3E779D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F70BB2E-F37F-4AF0-ACBE-E6329DC89AD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183314214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60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60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27" y="1785936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6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Дата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15AA9C0-C7E5-41C8-9C61-DE0B376A233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1249B91-4FF0-46E8-A9CF-15C59EE2EA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11663074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5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5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Дата 1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6462D7-F51A-49FE-B551-C191B5AB107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22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DCA987E-2AC9-44C9-A0BD-2971EA7D05E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4006296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83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751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83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751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2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7702F9D-C7FA-4B41-87F8-3493D481FE5E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05D956B-C8D6-47D7-9FC4-E4081FA562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407482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0887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7070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3944DA7-6C4D-4163-945E-C28CAFE8B69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6" name="Нижний колонтитул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4AEC608-3A93-4435-BBF6-74A93BCB22C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9934357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84841E-6BE6-4EF3-BA32-FF338BB4490F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644A494-8B7D-426F-AE71-F898252EC0D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47443151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75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192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800A293-DD24-4C98-B443-59228E695398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CA093CA-CD04-4959-B900-1AA69A689D0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55338750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8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75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42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92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4E23290-3774-436F-BB9B-4DC5A206888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030FFF1-CFB6-40DD-9E8D-71266867352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266121499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9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9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F71EA0B-77A8-48E1-A8CB-CF378B3B762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41D3ADF-5868-48D1-BAC6-620ED1D1C36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38440077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smtClean="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58"/>
            <a:ext cx="73152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96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533C199-4932-4C7C-9754-8F249396875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0913AC30-3CE3-4F69-9718-33B7F219D8A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44957362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604842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TextBox 11"/>
          <p:cNvSpPr txBox="1">
            <a:spLocks noChangeArrowheads="1"/>
          </p:cNvSpPr>
          <p:nvPr userDrawn="1"/>
        </p:nvSpPr>
        <p:spPr bwMode="auto">
          <a:xfrm>
            <a:off x="3126320" y="5815056"/>
            <a:ext cx="662093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.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endParaRPr lang="ru-RU" altLang="ru-RU" sz="1600" smtClean="0">
              <a:solidFill>
                <a:srgbClr val="515151"/>
              </a:solidFill>
              <a:latin typeface="Calibri" pitchFamily="34" charset="0"/>
            </a:endParaRPr>
          </a:p>
        </p:txBody>
      </p:sp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7" y="5765800"/>
            <a:ext cx="535516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8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6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21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2955DA-9F8E-4891-B2A6-524222EA9E7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55D4DB06-81A3-484C-90E2-6C740F91AD7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28000043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6;p3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 charset="0"/>
              <a:buNone/>
            </a:pPr>
            <a:endParaRPr lang="ru-RU" altLang="ru-RU" smtClean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5896716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1196976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ACA9B67-FB94-4736-87FC-BD0D599B31B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01622F61-514D-473D-81B4-5EF44B96D3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199498401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67" y="1196975"/>
            <a:ext cx="9660467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7B31974-29CD-4BA3-AB36-962BD9B5E91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91FE3F7-007E-4C98-9FAA-AB0CB59933C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74456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2139404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22935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92394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849314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E8EF46-6B50-435F-8C87-BB05CB03B35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594DD27-EF65-4E8F-A3D8-C5B7C3A30D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7035343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85" y="2163763"/>
            <a:ext cx="9808633" cy="278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575281649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53845568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3E49E04-8365-453F-99C0-74844F50DED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CC783E5-FB22-46AC-84A9-035E3EDF0B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41242275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13593D5-FFEA-4BAB-9971-C6268EC0D196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69C5785-C770-4AF0-B40E-5F7D141B70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21150545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1" y="6286500"/>
            <a:ext cx="3333751" cy="503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1" y="6269038"/>
            <a:ext cx="20955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55B0993-9878-4386-88FD-3B0F99F56CBC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1558BCF-7664-4067-84AF-9B270D21CF2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274378126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096001"/>
            <a:ext cx="4191000" cy="714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AC62FB8-BB60-4168-8953-4897BE1E426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B312400-B906-4A32-B308-945D3951EF4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295220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286501"/>
            <a:ext cx="419100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067" y="1619250"/>
            <a:ext cx="7907867" cy="18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7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64089AC-0248-4A62-8B82-03F5514C4C6F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DE10FC01-58AD-4E80-AE1A-16B011C3A3B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27982046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85751" y="6262688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9"/>
            <a:ext cx="11684160" cy="5975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0A6D00-5697-4034-9F98-81E9CAC492E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4D28DB77-450E-4677-ADE7-79BC4E146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55932648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F703ACB-A930-458B-9AD7-5EADBF2EF43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DE75B68-F37D-45B8-8B6E-41CBC58152C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266991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7155732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2395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05752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0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0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BEEDBF9-D739-42CA-A4DB-64985A10519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33F39681-9671-439F-80DA-6C0C8F9CD35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10459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9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9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5B153A8-FAFC-4055-A324-A830132E81B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6D52A08-E8A7-45D5-AD21-567844024A3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5020396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21" y="1785933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3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Дата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554F576-921D-4E00-B207-EA4E356901B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9A77556-5A29-463D-83EA-2946687796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04634749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5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5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Дата 1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A2CFDD8-0BEE-43D2-BE5A-13228522391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22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B64EA17-8CAD-4411-AE6D-FD9B861FAC8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01866877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80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709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80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709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2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84B72FB-2240-465B-8B50-027F46A046F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9DBABA4-7CA0-4D99-A6C5-3E667529F51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25803217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ADEBD9E-CE0F-47EA-8F07-5E2E5ADF829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6" name="Нижний колонтитул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167C57C-1806-4583-90C7-464FF87F0D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50315418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95E1FD9-4EC3-426D-9ACE-31B162E17282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3F31828-DABE-4B09-A8AB-39CA11E081B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68872284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33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15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4CDDBD6-3820-471F-9A07-C4A0CEF9E54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AB65867A-3896-4076-8CDC-BE83D54F59C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47126030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33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14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5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13C176-FD96-421B-9BF8-59FE91ABEC0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364EADE-165B-41F0-8274-8C794B26DAA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97706756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9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9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6951471-506E-4D7C-901A-2122A189884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5B4C4BCF-E1B0-4643-913A-009F6E406E3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7694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849314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E8EF46-6B50-435F-8C87-BB05CB03B35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594DD27-EF65-4E8F-A3D8-C5B7C3A30D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703534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7994318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498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4343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smtClean="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16"/>
            <a:ext cx="73152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54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ED0109-8857-4BE8-85A6-4E168D7C8C8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DD4EE153-FCDF-4F80-8C69-0BA6E2E520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618097442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604839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TextBox 11"/>
          <p:cNvSpPr txBox="1">
            <a:spLocks noChangeArrowheads="1"/>
          </p:cNvSpPr>
          <p:nvPr userDrawn="1"/>
        </p:nvSpPr>
        <p:spPr bwMode="auto">
          <a:xfrm>
            <a:off x="3126318" y="5815014"/>
            <a:ext cx="662093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.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endParaRPr lang="ru-RU" altLang="ru-RU" sz="1600" smtClean="0">
              <a:solidFill>
                <a:srgbClr val="515151"/>
              </a:solidFill>
              <a:latin typeface="Calibri" pitchFamily="34" charset="0"/>
            </a:endParaRPr>
          </a:p>
        </p:txBody>
      </p:sp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5" y="5765800"/>
            <a:ext cx="535516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7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4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3DAC242-98D7-4A18-94A5-4D6CE62611B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3B428DED-95B2-45B8-A4AB-15CB34EA91D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14434591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6;p3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 charset="0"/>
              <a:buNone/>
            </a:pPr>
            <a:endParaRPr lang="ru-RU" altLang="ru-RU" smtClean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031306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6058367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600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69482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839692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703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18972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1684549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28055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011456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7655158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2907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68150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0103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82273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4994085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3215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44774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1394142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3317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151749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2662834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419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52577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68860371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52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703128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70296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0389153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624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69933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4802541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3727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973123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6952351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3829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56978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931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76623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74467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70063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680052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768598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66704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38791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tags" Target="../tags/tag34.xml"/><Relationship Id="rId5" Type="http://schemas.openxmlformats.org/officeDocument/2006/relationships/slideLayout" Target="../slideLayouts/slideLayout90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9.xml"/><Relationship Id="rId117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35.xml"/><Relationship Id="rId47" Type="http://schemas.openxmlformats.org/officeDocument/2006/relationships/slideLayout" Target="../slideLayouts/slideLayout140.xml"/><Relationship Id="rId63" Type="http://schemas.openxmlformats.org/officeDocument/2006/relationships/slideLayout" Target="../slideLayouts/slideLayout156.xml"/><Relationship Id="rId68" Type="http://schemas.openxmlformats.org/officeDocument/2006/relationships/slideLayout" Target="../slideLayouts/slideLayout161.xml"/><Relationship Id="rId84" Type="http://schemas.openxmlformats.org/officeDocument/2006/relationships/slideLayout" Target="../slideLayouts/slideLayout177.xml"/><Relationship Id="rId89" Type="http://schemas.openxmlformats.org/officeDocument/2006/relationships/slideLayout" Target="../slideLayouts/slideLayout182.xml"/><Relationship Id="rId112" Type="http://schemas.openxmlformats.org/officeDocument/2006/relationships/slideLayout" Target="../slideLayouts/slideLayout205.xml"/><Relationship Id="rId133" Type="http://schemas.openxmlformats.org/officeDocument/2006/relationships/slideLayout" Target="../slideLayouts/slideLayout226.xml"/><Relationship Id="rId138" Type="http://schemas.openxmlformats.org/officeDocument/2006/relationships/slideLayout" Target="../slideLayouts/slideLayout231.xml"/><Relationship Id="rId154" Type="http://schemas.openxmlformats.org/officeDocument/2006/relationships/slideLayout" Target="../slideLayouts/slideLayout247.xml"/><Relationship Id="rId159" Type="http://schemas.openxmlformats.org/officeDocument/2006/relationships/slideLayout" Target="../slideLayouts/slideLayout252.xml"/><Relationship Id="rId175" Type="http://schemas.openxmlformats.org/officeDocument/2006/relationships/slideLayout" Target="../slideLayouts/slideLayout268.xml"/><Relationship Id="rId170" Type="http://schemas.openxmlformats.org/officeDocument/2006/relationships/slideLayout" Target="../slideLayouts/slideLayout263.xml"/><Relationship Id="rId16" Type="http://schemas.openxmlformats.org/officeDocument/2006/relationships/slideLayout" Target="../slideLayouts/slideLayout109.xml"/><Relationship Id="rId107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25.xml"/><Relationship Id="rId37" Type="http://schemas.openxmlformats.org/officeDocument/2006/relationships/slideLayout" Target="../slideLayouts/slideLayout130.xml"/><Relationship Id="rId53" Type="http://schemas.openxmlformats.org/officeDocument/2006/relationships/slideLayout" Target="../slideLayouts/slideLayout146.xml"/><Relationship Id="rId58" Type="http://schemas.openxmlformats.org/officeDocument/2006/relationships/slideLayout" Target="../slideLayouts/slideLayout151.xml"/><Relationship Id="rId74" Type="http://schemas.openxmlformats.org/officeDocument/2006/relationships/slideLayout" Target="../slideLayouts/slideLayout167.xml"/><Relationship Id="rId79" Type="http://schemas.openxmlformats.org/officeDocument/2006/relationships/slideLayout" Target="../slideLayouts/slideLayout172.xml"/><Relationship Id="rId102" Type="http://schemas.openxmlformats.org/officeDocument/2006/relationships/slideLayout" Target="../slideLayouts/slideLayout195.xml"/><Relationship Id="rId123" Type="http://schemas.openxmlformats.org/officeDocument/2006/relationships/slideLayout" Target="../slideLayouts/slideLayout216.xml"/><Relationship Id="rId128" Type="http://schemas.openxmlformats.org/officeDocument/2006/relationships/slideLayout" Target="../slideLayouts/slideLayout221.xml"/><Relationship Id="rId144" Type="http://schemas.openxmlformats.org/officeDocument/2006/relationships/slideLayout" Target="../slideLayouts/slideLayout237.xml"/><Relationship Id="rId149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98.xml"/><Relationship Id="rId90" Type="http://schemas.openxmlformats.org/officeDocument/2006/relationships/slideLayout" Target="../slideLayouts/slideLayout183.xml"/><Relationship Id="rId95" Type="http://schemas.openxmlformats.org/officeDocument/2006/relationships/slideLayout" Target="../slideLayouts/slideLayout188.xml"/><Relationship Id="rId160" Type="http://schemas.openxmlformats.org/officeDocument/2006/relationships/slideLayout" Target="../slideLayouts/slideLayout253.xml"/><Relationship Id="rId165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36.xml"/><Relationship Id="rId48" Type="http://schemas.openxmlformats.org/officeDocument/2006/relationships/slideLayout" Target="../slideLayouts/slideLayout141.xml"/><Relationship Id="rId64" Type="http://schemas.openxmlformats.org/officeDocument/2006/relationships/slideLayout" Target="../slideLayouts/slideLayout157.xml"/><Relationship Id="rId69" Type="http://schemas.openxmlformats.org/officeDocument/2006/relationships/slideLayout" Target="../slideLayouts/slideLayout162.xml"/><Relationship Id="rId113" Type="http://schemas.openxmlformats.org/officeDocument/2006/relationships/slideLayout" Target="../slideLayouts/slideLayout206.xml"/><Relationship Id="rId118" Type="http://schemas.openxmlformats.org/officeDocument/2006/relationships/slideLayout" Target="../slideLayouts/slideLayout211.xml"/><Relationship Id="rId134" Type="http://schemas.openxmlformats.org/officeDocument/2006/relationships/slideLayout" Target="../slideLayouts/slideLayout227.xml"/><Relationship Id="rId139" Type="http://schemas.openxmlformats.org/officeDocument/2006/relationships/slideLayout" Target="../slideLayouts/slideLayout232.xml"/><Relationship Id="rId80" Type="http://schemas.openxmlformats.org/officeDocument/2006/relationships/slideLayout" Target="../slideLayouts/slideLayout173.xml"/><Relationship Id="rId85" Type="http://schemas.openxmlformats.org/officeDocument/2006/relationships/slideLayout" Target="../slideLayouts/slideLayout178.xml"/><Relationship Id="rId150" Type="http://schemas.openxmlformats.org/officeDocument/2006/relationships/slideLayout" Target="../slideLayouts/slideLayout243.xml"/><Relationship Id="rId155" Type="http://schemas.openxmlformats.org/officeDocument/2006/relationships/slideLayout" Target="../slideLayouts/slideLayout248.xml"/><Relationship Id="rId171" Type="http://schemas.openxmlformats.org/officeDocument/2006/relationships/slideLayout" Target="../slideLayouts/slideLayout264.xml"/><Relationship Id="rId176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26.xml"/><Relationship Id="rId38" Type="http://schemas.openxmlformats.org/officeDocument/2006/relationships/slideLayout" Target="../slideLayouts/slideLayout131.xml"/><Relationship Id="rId59" Type="http://schemas.openxmlformats.org/officeDocument/2006/relationships/slideLayout" Target="../slideLayouts/slideLayout152.xml"/><Relationship Id="rId103" Type="http://schemas.openxmlformats.org/officeDocument/2006/relationships/slideLayout" Target="../slideLayouts/slideLayout196.xml"/><Relationship Id="rId108" Type="http://schemas.openxmlformats.org/officeDocument/2006/relationships/slideLayout" Target="../slideLayouts/slideLayout201.xml"/><Relationship Id="rId124" Type="http://schemas.openxmlformats.org/officeDocument/2006/relationships/slideLayout" Target="../slideLayouts/slideLayout217.xml"/><Relationship Id="rId129" Type="http://schemas.openxmlformats.org/officeDocument/2006/relationships/slideLayout" Target="../slideLayouts/slideLayout222.xml"/><Relationship Id="rId54" Type="http://schemas.openxmlformats.org/officeDocument/2006/relationships/slideLayout" Target="../slideLayouts/slideLayout147.xml"/><Relationship Id="rId70" Type="http://schemas.openxmlformats.org/officeDocument/2006/relationships/slideLayout" Target="../slideLayouts/slideLayout163.xml"/><Relationship Id="rId75" Type="http://schemas.openxmlformats.org/officeDocument/2006/relationships/slideLayout" Target="../slideLayouts/slideLayout168.xml"/><Relationship Id="rId91" Type="http://schemas.openxmlformats.org/officeDocument/2006/relationships/slideLayout" Target="../slideLayouts/slideLayout184.xml"/><Relationship Id="rId96" Type="http://schemas.openxmlformats.org/officeDocument/2006/relationships/slideLayout" Target="../slideLayouts/slideLayout189.xml"/><Relationship Id="rId140" Type="http://schemas.openxmlformats.org/officeDocument/2006/relationships/slideLayout" Target="../slideLayouts/slideLayout233.xml"/><Relationship Id="rId145" Type="http://schemas.openxmlformats.org/officeDocument/2006/relationships/slideLayout" Target="../slideLayouts/slideLayout238.xml"/><Relationship Id="rId161" Type="http://schemas.openxmlformats.org/officeDocument/2006/relationships/slideLayout" Target="../slideLayouts/slideLayout254.xml"/><Relationship Id="rId166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42.xml"/><Relationship Id="rId114" Type="http://schemas.openxmlformats.org/officeDocument/2006/relationships/slideLayout" Target="../slideLayouts/slideLayout207.xml"/><Relationship Id="rId119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24.xml"/><Relationship Id="rId44" Type="http://schemas.openxmlformats.org/officeDocument/2006/relationships/slideLayout" Target="../slideLayouts/slideLayout137.xml"/><Relationship Id="rId52" Type="http://schemas.openxmlformats.org/officeDocument/2006/relationships/slideLayout" Target="../slideLayouts/slideLayout145.xml"/><Relationship Id="rId60" Type="http://schemas.openxmlformats.org/officeDocument/2006/relationships/slideLayout" Target="../slideLayouts/slideLayout153.xml"/><Relationship Id="rId65" Type="http://schemas.openxmlformats.org/officeDocument/2006/relationships/slideLayout" Target="../slideLayouts/slideLayout158.xml"/><Relationship Id="rId73" Type="http://schemas.openxmlformats.org/officeDocument/2006/relationships/slideLayout" Target="../slideLayouts/slideLayout166.xml"/><Relationship Id="rId78" Type="http://schemas.openxmlformats.org/officeDocument/2006/relationships/slideLayout" Target="../slideLayouts/slideLayout171.xml"/><Relationship Id="rId81" Type="http://schemas.openxmlformats.org/officeDocument/2006/relationships/slideLayout" Target="../slideLayouts/slideLayout174.xml"/><Relationship Id="rId86" Type="http://schemas.openxmlformats.org/officeDocument/2006/relationships/slideLayout" Target="../slideLayouts/slideLayout179.xml"/><Relationship Id="rId94" Type="http://schemas.openxmlformats.org/officeDocument/2006/relationships/slideLayout" Target="../slideLayouts/slideLayout187.xml"/><Relationship Id="rId99" Type="http://schemas.openxmlformats.org/officeDocument/2006/relationships/slideLayout" Target="../slideLayouts/slideLayout192.xml"/><Relationship Id="rId101" Type="http://schemas.openxmlformats.org/officeDocument/2006/relationships/slideLayout" Target="../slideLayouts/slideLayout194.xml"/><Relationship Id="rId122" Type="http://schemas.openxmlformats.org/officeDocument/2006/relationships/slideLayout" Target="../slideLayouts/slideLayout215.xml"/><Relationship Id="rId130" Type="http://schemas.openxmlformats.org/officeDocument/2006/relationships/slideLayout" Target="../slideLayouts/slideLayout223.xml"/><Relationship Id="rId135" Type="http://schemas.openxmlformats.org/officeDocument/2006/relationships/slideLayout" Target="../slideLayouts/slideLayout228.xml"/><Relationship Id="rId143" Type="http://schemas.openxmlformats.org/officeDocument/2006/relationships/slideLayout" Target="../slideLayouts/slideLayout236.xml"/><Relationship Id="rId148" Type="http://schemas.openxmlformats.org/officeDocument/2006/relationships/slideLayout" Target="../slideLayouts/slideLayout241.xml"/><Relationship Id="rId151" Type="http://schemas.openxmlformats.org/officeDocument/2006/relationships/slideLayout" Target="../slideLayouts/slideLayout244.xml"/><Relationship Id="rId156" Type="http://schemas.openxmlformats.org/officeDocument/2006/relationships/slideLayout" Target="../slideLayouts/slideLayout249.xml"/><Relationship Id="rId164" Type="http://schemas.openxmlformats.org/officeDocument/2006/relationships/slideLayout" Target="../slideLayouts/slideLayout257.xml"/><Relationship Id="rId169" Type="http://schemas.openxmlformats.org/officeDocument/2006/relationships/slideLayout" Target="../slideLayouts/slideLayout262.xml"/><Relationship Id="rId177" Type="http://schemas.openxmlformats.org/officeDocument/2006/relationships/theme" Target="../theme/theme11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72" Type="http://schemas.openxmlformats.org/officeDocument/2006/relationships/slideLayout" Target="../slideLayouts/slideLayout265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32.xml"/><Relationship Id="rId109" Type="http://schemas.openxmlformats.org/officeDocument/2006/relationships/slideLayout" Target="../slideLayouts/slideLayout202.xml"/><Relationship Id="rId34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43.xml"/><Relationship Id="rId55" Type="http://schemas.openxmlformats.org/officeDocument/2006/relationships/slideLayout" Target="../slideLayouts/slideLayout148.xml"/><Relationship Id="rId76" Type="http://schemas.openxmlformats.org/officeDocument/2006/relationships/slideLayout" Target="../slideLayouts/slideLayout169.xml"/><Relationship Id="rId97" Type="http://schemas.openxmlformats.org/officeDocument/2006/relationships/slideLayout" Target="../slideLayouts/slideLayout190.xml"/><Relationship Id="rId104" Type="http://schemas.openxmlformats.org/officeDocument/2006/relationships/slideLayout" Target="../slideLayouts/slideLayout197.xml"/><Relationship Id="rId120" Type="http://schemas.openxmlformats.org/officeDocument/2006/relationships/slideLayout" Target="../slideLayouts/slideLayout213.xml"/><Relationship Id="rId125" Type="http://schemas.openxmlformats.org/officeDocument/2006/relationships/slideLayout" Target="../slideLayouts/slideLayout218.xml"/><Relationship Id="rId141" Type="http://schemas.openxmlformats.org/officeDocument/2006/relationships/slideLayout" Target="../slideLayouts/slideLayout234.xml"/><Relationship Id="rId146" Type="http://schemas.openxmlformats.org/officeDocument/2006/relationships/slideLayout" Target="../slideLayouts/slideLayout239.xml"/><Relationship Id="rId167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100.xml"/><Relationship Id="rId71" Type="http://schemas.openxmlformats.org/officeDocument/2006/relationships/slideLayout" Target="../slideLayouts/slideLayout164.xml"/><Relationship Id="rId92" Type="http://schemas.openxmlformats.org/officeDocument/2006/relationships/slideLayout" Target="../slideLayouts/slideLayout185.xml"/><Relationship Id="rId162" Type="http://schemas.openxmlformats.org/officeDocument/2006/relationships/slideLayout" Target="../slideLayouts/slideLayout255.xml"/><Relationship Id="rId2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33.xml"/><Relationship Id="rId45" Type="http://schemas.openxmlformats.org/officeDocument/2006/relationships/slideLayout" Target="../slideLayouts/slideLayout138.xml"/><Relationship Id="rId66" Type="http://schemas.openxmlformats.org/officeDocument/2006/relationships/slideLayout" Target="../slideLayouts/slideLayout159.xml"/><Relationship Id="rId87" Type="http://schemas.openxmlformats.org/officeDocument/2006/relationships/slideLayout" Target="../slideLayouts/slideLayout180.xml"/><Relationship Id="rId110" Type="http://schemas.openxmlformats.org/officeDocument/2006/relationships/slideLayout" Target="../slideLayouts/slideLayout203.xml"/><Relationship Id="rId115" Type="http://schemas.openxmlformats.org/officeDocument/2006/relationships/slideLayout" Target="../slideLayouts/slideLayout208.xml"/><Relationship Id="rId131" Type="http://schemas.openxmlformats.org/officeDocument/2006/relationships/slideLayout" Target="../slideLayouts/slideLayout224.xml"/><Relationship Id="rId136" Type="http://schemas.openxmlformats.org/officeDocument/2006/relationships/slideLayout" Target="../slideLayouts/slideLayout229.xml"/><Relationship Id="rId157" Type="http://schemas.openxmlformats.org/officeDocument/2006/relationships/slideLayout" Target="../slideLayouts/slideLayout250.xml"/><Relationship Id="rId178" Type="http://schemas.openxmlformats.org/officeDocument/2006/relationships/image" Target="../media/image11.png"/><Relationship Id="rId61" Type="http://schemas.openxmlformats.org/officeDocument/2006/relationships/slideLayout" Target="../slideLayouts/slideLayout154.xml"/><Relationship Id="rId82" Type="http://schemas.openxmlformats.org/officeDocument/2006/relationships/slideLayout" Target="../slideLayouts/slideLayout175.xml"/><Relationship Id="rId152" Type="http://schemas.openxmlformats.org/officeDocument/2006/relationships/slideLayout" Target="../slideLayouts/slideLayout245.xml"/><Relationship Id="rId173" Type="http://schemas.openxmlformats.org/officeDocument/2006/relationships/slideLayout" Target="../slideLayouts/slideLayout266.xml"/><Relationship Id="rId1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Relationship Id="rId56" Type="http://schemas.openxmlformats.org/officeDocument/2006/relationships/slideLayout" Target="../slideLayouts/slideLayout149.xml"/><Relationship Id="rId77" Type="http://schemas.openxmlformats.org/officeDocument/2006/relationships/slideLayout" Target="../slideLayouts/slideLayout170.xml"/><Relationship Id="rId100" Type="http://schemas.openxmlformats.org/officeDocument/2006/relationships/slideLayout" Target="../slideLayouts/slideLayout193.xml"/><Relationship Id="rId105" Type="http://schemas.openxmlformats.org/officeDocument/2006/relationships/slideLayout" Target="../slideLayouts/slideLayout198.xml"/><Relationship Id="rId126" Type="http://schemas.openxmlformats.org/officeDocument/2006/relationships/slideLayout" Target="../slideLayouts/slideLayout219.xml"/><Relationship Id="rId147" Type="http://schemas.openxmlformats.org/officeDocument/2006/relationships/slideLayout" Target="../slideLayouts/slideLayout240.xml"/><Relationship Id="rId168" Type="http://schemas.openxmlformats.org/officeDocument/2006/relationships/slideLayout" Target="../slideLayouts/slideLayout261.xml"/><Relationship Id="rId8" Type="http://schemas.openxmlformats.org/officeDocument/2006/relationships/slideLayout" Target="../slideLayouts/slideLayout101.xml"/><Relationship Id="rId51" Type="http://schemas.openxmlformats.org/officeDocument/2006/relationships/slideLayout" Target="../slideLayouts/slideLayout144.xml"/><Relationship Id="rId72" Type="http://schemas.openxmlformats.org/officeDocument/2006/relationships/slideLayout" Target="../slideLayouts/slideLayout165.xml"/><Relationship Id="rId93" Type="http://schemas.openxmlformats.org/officeDocument/2006/relationships/slideLayout" Target="../slideLayouts/slideLayout186.xml"/><Relationship Id="rId98" Type="http://schemas.openxmlformats.org/officeDocument/2006/relationships/slideLayout" Target="../slideLayouts/slideLayout191.xml"/><Relationship Id="rId121" Type="http://schemas.openxmlformats.org/officeDocument/2006/relationships/slideLayout" Target="../slideLayouts/slideLayout214.xml"/><Relationship Id="rId142" Type="http://schemas.openxmlformats.org/officeDocument/2006/relationships/slideLayout" Target="../slideLayouts/slideLayout235.xml"/><Relationship Id="rId163" Type="http://schemas.openxmlformats.org/officeDocument/2006/relationships/slideLayout" Target="../slideLayouts/slideLayout256.xml"/><Relationship Id="rId3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39.xml"/><Relationship Id="rId67" Type="http://schemas.openxmlformats.org/officeDocument/2006/relationships/slideLayout" Target="../slideLayouts/slideLayout160.xml"/><Relationship Id="rId116" Type="http://schemas.openxmlformats.org/officeDocument/2006/relationships/slideLayout" Target="../slideLayouts/slideLayout209.xml"/><Relationship Id="rId137" Type="http://schemas.openxmlformats.org/officeDocument/2006/relationships/slideLayout" Target="../slideLayouts/slideLayout230.xml"/><Relationship Id="rId158" Type="http://schemas.openxmlformats.org/officeDocument/2006/relationships/slideLayout" Target="../slideLayouts/slideLayout251.xml"/><Relationship Id="rId20" Type="http://schemas.openxmlformats.org/officeDocument/2006/relationships/slideLayout" Target="../slideLayouts/slideLayout113.xml"/><Relationship Id="rId41" Type="http://schemas.openxmlformats.org/officeDocument/2006/relationships/slideLayout" Target="../slideLayouts/slideLayout134.xml"/><Relationship Id="rId62" Type="http://schemas.openxmlformats.org/officeDocument/2006/relationships/slideLayout" Target="../slideLayouts/slideLayout155.xml"/><Relationship Id="rId83" Type="http://schemas.openxmlformats.org/officeDocument/2006/relationships/slideLayout" Target="../slideLayouts/slideLayout176.xml"/><Relationship Id="rId88" Type="http://schemas.openxmlformats.org/officeDocument/2006/relationships/slideLayout" Target="../slideLayouts/slideLayout181.xml"/><Relationship Id="rId111" Type="http://schemas.openxmlformats.org/officeDocument/2006/relationships/slideLayout" Target="../slideLayouts/slideLayout204.xml"/><Relationship Id="rId132" Type="http://schemas.openxmlformats.org/officeDocument/2006/relationships/slideLayout" Target="../slideLayouts/slideLayout225.xml"/><Relationship Id="rId153" Type="http://schemas.openxmlformats.org/officeDocument/2006/relationships/slideLayout" Target="../slideLayouts/slideLayout246.xml"/><Relationship Id="rId174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29.xml"/><Relationship Id="rId57" Type="http://schemas.openxmlformats.org/officeDocument/2006/relationships/slideLayout" Target="../slideLayouts/slideLayout150.xml"/><Relationship Id="rId106" Type="http://schemas.openxmlformats.org/officeDocument/2006/relationships/slideLayout" Target="../slideLayouts/slideLayout199.xml"/><Relationship Id="rId127" Type="http://schemas.openxmlformats.org/officeDocument/2006/relationships/slideLayout" Target="../slideLayouts/slideLayout2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slideLayout" Target="../slideLayouts/slideLayout282.xml"/><Relationship Id="rId18" Type="http://schemas.openxmlformats.org/officeDocument/2006/relationships/slideLayout" Target="../slideLayouts/slideLayout287.xml"/><Relationship Id="rId26" Type="http://schemas.openxmlformats.org/officeDocument/2006/relationships/slideLayout" Target="../slideLayouts/slideLayout295.xml"/><Relationship Id="rId39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272.xml"/><Relationship Id="rId21" Type="http://schemas.openxmlformats.org/officeDocument/2006/relationships/slideLayout" Target="../slideLayouts/slideLayout290.xml"/><Relationship Id="rId34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5" Type="http://schemas.openxmlformats.org/officeDocument/2006/relationships/slideLayout" Target="../slideLayouts/slideLayout294.xml"/><Relationship Id="rId33" Type="http://schemas.openxmlformats.org/officeDocument/2006/relationships/slideLayout" Target="../slideLayouts/slideLayout302.xml"/><Relationship Id="rId38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0" Type="http://schemas.openxmlformats.org/officeDocument/2006/relationships/slideLayout" Target="../slideLayouts/slideLayout289.xml"/><Relationship Id="rId29" Type="http://schemas.openxmlformats.org/officeDocument/2006/relationships/slideLayout" Target="../slideLayouts/slideLayout298.xml"/><Relationship Id="rId41" Type="http://schemas.openxmlformats.org/officeDocument/2006/relationships/image" Target="../media/image11.png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24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01.xml"/><Relationship Id="rId37" Type="http://schemas.openxmlformats.org/officeDocument/2006/relationships/slideLayout" Target="../slideLayouts/slideLayout306.xml"/><Relationship Id="rId40" Type="http://schemas.openxmlformats.org/officeDocument/2006/relationships/theme" Target="../theme/theme12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23" Type="http://schemas.openxmlformats.org/officeDocument/2006/relationships/slideLayout" Target="../slideLayouts/slideLayout292.xml"/><Relationship Id="rId28" Type="http://schemas.openxmlformats.org/officeDocument/2006/relationships/slideLayout" Target="../slideLayouts/slideLayout297.xml"/><Relationship Id="rId36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88.xml"/><Relationship Id="rId31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291.xml"/><Relationship Id="rId27" Type="http://schemas.openxmlformats.org/officeDocument/2006/relationships/slideLayout" Target="../slideLayouts/slideLayout296.xml"/><Relationship Id="rId30" Type="http://schemas.openxmlformats.org/officeDocument/2006/relationships/slideLayout" Target="../slideLayouts/slideLayout299.xml"/><Relationship Id="rId35" Type="http://schemas.openxmlformats.org/officeDocument/2006/relationships/slideLayout" Target="../slideLayouts/slideLayout30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slideLayout" Target="../slideLayouts/slideLayout321.xml"/><Relationship Id="rId18" Type="http://schemas.openxmlformats.org/officeDocument/2006/relationships/slideLayout" Target="../slideLayouts/slideLayout326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311.xml"/><Relationship Id="rId21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17" Type="http://schemas.openxmlformats.org/officeDocument/2006/relationships/slideLayout" Target="../slideLayouts/slideLayout325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310.xml"/><Relationship Id="rId16" Type="http://schemas.openxmlformats.org/officeDocument/2006/relationships/slideLayout" Target="../slideLayouts/slideLayout324.xml"/><Relationship Id="rId20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24" Type="http://schemas.openxmlformats.org/officeDocument/2006/relationships/slideLayout" Target="../slideLayouts/slideLayout332.xml"/><Relationship Id="rId5" Type="http://schemas.openxmlformats.org/officeDocument/2006/relationships/slideLayout" Target="../slideLayouts/slideLayout313.xml"/><Relationship Id="rId15" Type="http://schemas.openxmlformats.org/officeDocument/2006/relationships/slideLayout" Target="../slideLayouts/slideLayout323.xml"/><Relationship Id="rId23" Type="http://schemas.openxmlformats.org/officeDocument/2006/relationships/slideLayout" Target="../slideLayouts/slideLayout331.xml"/><Relationship Id="rId10" Type="http://schemas.openxmlformats.org/officeDocument/2006/relationships/slideLayout" Target="../slideLayouts/slideLayout318.xml"/><Relationship Id="rId19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22.xml"/><Relationship Id="rId22" Type="http://schemas.openxmlformats.org/officeDocument/2006/relationships/slideLayout" Target="../slideLayouts/slideLayout33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35.xml"/><Relationship Id="rId7" Type="http://schemas.openxmlformats.org/officeDocument/2006/relationships/slideLayout" Target="../slideLayouts/slideLayout339.xml"/><Relationship Id="rId12" Type="http://schemas.openxmlformats.org/officeDocument/2006/relationships/oleObject" Target="../embeddings/oleObject80.bin"/><Relationship Id="rId2" Type="http://schemas.openxmlformats.org/officeDocument/2006/relationships/slideLayout" Target="../slideLayouts/slideLayout334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1" Type="http://schemas.openxmlformats.org/officeDocument/2006/relationships/tags" Target="../tags/tag178.xml"/><Relationship Id="rId5" Type="http://schemas.openxmlformats.org/officeDocument/2006/relationships/slideLayout" Target="../slideLayouts/slideLayout337.xml"/><Relationship Id="rId10" Type="http://schemas.openxmlformats.org/officeDocument/2006/relationships/vmlDrawing" Target="../drawings/vmlDrawing80.vml"/><Relationship Id="rId4" Type="http://schemas.openxmlformats.org/officeDocument/2006/relationships/slideLayout" Target="../slideLayouts/slideLayout336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7.xml"/><Relationship Id="rId12" Type="http://schemas.openxmlformats.org/officeDocument/2006/relationships/oleObject" Target="../embeddings/oleObject89.bin"/><Relationship Id="rId2" Type="http://schemas.openxmlformats.org/officeDocument/2006/relationships/slideLayout" Target="../slideLayouts/slideLayout342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345.xml"/><Relationship Id="rId10" Type="http://schemas.openxmlformats.org/officeDocument/2006/relationships/vmlDrawing" Target="../drawings/vmlDrawing89.vml"/><Relationship Id="rId4" Type="http://schemas.openxmlformats.org/officeDocument/2006/relationships/slideLayout" Target="../slideLayouts/slideLayout344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9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9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107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19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107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194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198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134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202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134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oleObject" Target="../embeddings/oleObject143.bin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tags" Target="../tags/tag206.xml"/><Relationship Id="rId5" Type="http://schemas.openxmlformats.org/officeDocument/2006/relationships/slideLayout" Target="../slideLayouts/slideLayout393.xml"/><Relationship Id="rId10" Type="http://schemas.openxmlformats.org/officeDocument/2006/relationships/vmlDrawing" Target="../drawings/vmlDrawing143.vml"/><Relationship Id="rId4" Type="http://schemas.openxmlformats.org/officeDocument/2006/relationships/slideLayout" Target="../slideLayouts/slideLayout392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99.xml"/><Relationship Id="rId7" Type="http://schemas.openxmlformats.org/officeDocument/2006/relationships/slideLayout" Target="../slideLayouts/slideLayout403.xml"/><Relationship Id="rId12" Type="http://schemas.openxmlformats.org/officeDocument/2006/relationships/oleObject" Target="../embeddings/oleObject152.bin"/><Relationship Id="rId2" Type="http://schemas.openxmlformats.org/officeDocument/2006/relationships/slideLayout" Target="../slideLayouts/slideLayout398.xml"/><Relationship Id="rId1" Type="http://schemas.openxmlformats.org/officeDocument/2006/relationships/slideLayout" Target="../slideLayouts/slideLayout397.xml"/><Relationship Id="rId6" Type="http://schemas.openxmlformats.org/officeDocument/2006/relationships/slideLayout" Target="../slideLayouts/slideLayout402.xml"/><Relationship Id="rId11" Type="http://schemas.openxmlformats.org/officeDocument/2006/relationships/tags" Target="../tags/tag210.xml"/><Relationship Id="rId5" Type="http://schemas.openxmlformats.org/officeDocument/2006/relationships/slideLayout" Target="../slideLayouts/slideLayout401.xml"/><Relationship Id="rId10" Type="http://schemas.openxmlformats.org/officeDocument/2006/relationships/vmlDrawing" Target="../drawings/vmlDrawing152.vml"/><Relationship Id="rId4" Type="http://schemas.openxmlformats.org/officeDocument/2006/relationships/slideLayout" Target="../slideLayouts/slideLayout400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2.xml"/><Relationship Id="rId3" Type="http://schemas.openxmlformats.org/officeDocument/2006/relationships/slideLayout" Target="../slideLayouts/slideLayout407.xml"/><Relationship Id="rId7" Type="http://schemas.openxmlformats.org/officeDocument/2006/relationships/slideLayout" Target="../slideLayouts/slideLayout411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406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409.xml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408.xml"/><Relationship Id="rId9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0.xml"/><Relationship Id="rId13" Type="http://schemas.openxmlformats.org/officeDocument/2006/relationships/slideLayout" Target="../slideLayouts/slideLayout425.xml"/><Relationship Id="rId18" Type="http://schemas.openxmlformats.org/officeDocument/2006/relationships/slideLayout" Target="../slideLayouts/slideLayout430.xml"/><Relationship Id="rId26" Type="http://schemas.openxmlformats.org/officeDocument/2006/relationships/theme" Target="../theme/theme24.xml"/><Relationship Id="rId3" Type="http://schemas.openxmlformats.org/officeDocument/2006/relationships/slideLayout" Target="../slideLayouts/slideLayout415.xml"/><Relationship Id="rId21" Type="http://schemas.openxmlformats.org/officeDocument/2006/relationships/slideLayout" Target="../slideLayouts/slideLayout433.xml"/><Relationship Id="rId7" Type="http://schemas.openxmlformats.org/officeDocument/2006/relationships/slideLayout" Target="../slideLayouts/slideLayout419.xml"/><Relationship Id="rId12" Type="http://schemas.openxmlformats.org/officeDocument/2006/relationships/slideLayout" Target="../slideLayouts/slideLayout424.xml"/><Relationship Id="rId17" Type="http://schemas.openxmlformats.org/officeDocument/2006/relationships/slideLayout" Target="../slideLayouts/slideLayout429.xml"/><Relationship Id="rId25" Type="http://schemas.openxmlformats.org/officeDocument/2006/relationships/slideLayout" Target="../slideLayouts/slideLayout437.xml"/><Relationship Id="rId2" Type="http://schemas.openxmlformats.org/officeDocument/2006/relationships/slideLayout" Target="../slideLayouts/slideLayout414.xml"/><Relationship Id="rId16" Type="http://schemas.openxmlformats.org/officeDocument/2006/relationships/slideLayout" Target="../slideLayouts/slideLayout428.xml"/><Relationship Id="rId20" Type="http://schemas.openxmlformats.org/officeDocument/2006/relationships/slideLayout" Target="../slideLayouts/slideLayout432.xml"/><Relationship Id="rId1" Type="http://schemas.openxmlformats.org/officeDocument/2006/relationships/slideLayout" Target="../slideLayouts/slideLayout413.xml"/><Relationship Id="rId6" Type="http://schemas.openxmlformats.org/officeDocument/2006/relationships/slideLayout" Target="../slideLayouts/slideLayout418.xml"/><Relationship Id="rId11" Type="http://schemas.openxmlformats.org/officeDocument/2006/relationships/slideLayout" Target="../slideLayouts/slideLayout423.xml"/><Relationship Id="rId24" Type="http://schemas.openxmlformats.org/officeDocument/2006/relationships/slideLayout" Target="../slideLayouts/slideLayout436.xml"/><Relationship Id="rId5" Type="http://schemas.openxmlformats.org/officeDocument/2006/relationships/slideLayout" Target="../slideLayouts/slideLayout417.xml"/><Relationship Id="rId15" Type="http://schemas.openxmlformats.org/officeDocument/2006/relationships/slideLayout" Target="../slideLayouts/slideLayout427.xml"/><Relationship Id="rId23" Type="http://schemas.openxmlformats.org/officeDocument/2006/relationships/slideLayout" Target="../slideLayouts/slideLayout435.xml"/><Relationship Id="rId10" Type="http://schemas.openxmlformats.org/officeDocument/2006/relationships/slideLayout" Target="../slideLayouts/slideLayout422.xml"/><Relationship Id="rId19" Type="http://schemas.openxmlformats.org/officeDocument/2006/relationships/slideLayout" Target="../slideLayouts/slideLayout431.xml"/><Relationship Id="rId4" Type="http://schemas.openxmlformats.org/officeDocument/2006/relationships/slideLayout" Target="../slideLayouts/slideLayout416.xml"/><Relationship Id="rId9" Type="http://schemas.openxmlformats.org/officeDocument/2006/relationships/slideLayout" Target="../slideLayouts/slideLayout421.xml"/><Relationship Id="rId14" Type="http://schemas.openxmlformats.org/officeDocument/2006/relationships/slideLayout" Target="../slideLayouts/slideLayout426.xml"/><Relationship Id="rId22" Type="http://schemas.openxmlformats.org/officeDocument/2006/relationships/slideLayout" Target="../slideLayouts/slideLayout434.xml"/><Relationship Id="rId27" Type="http://schemas.openxmlformats.org/officeDocument/2006/relationships/image" Target="../media/image4.png"/></Relationships>
</file>

<file path=ppt/slideMasters/_rels/slideMaster2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63.xml"/><Relationship Id="rId117" Type="http://schemas.openxmlformats.org/officeDocument/2006/relationships/slideLayout" Target="../slideLayouts/slideLayout554.xml"/><Relationship Id="rId21" Type="http://schemas.openxmlformats.org/officeDocument/2006/relationships/slideLayout" Target="../slideLayouts/slideLayout458.xml"/><Relationship Id="rId42" Type="http://schemas.openxmlformats.org/officeDocument/2006/relationships/slideLayout" Target="../slideLayouts/slideLayout479.xml"/><Relationship Id="rId47" Type="http://schemas.openxmlformats.org/officeDocument/2006/relationships/slideLayout" Target="../slideLayouts/slideLayout484.xml"/><Relationship Id="rId63" Type="http://schemas.openxmlformats.org/officeDocument/2006/relationships/slideLayout" Target="../slideLayouts/slideLayout500.xml"/><Relationship Id="rId68" Type="http://schemas.openxmlformats.org/officeDocument/2006/relationships/slideLayout" Target="../slideLayouts/slideLayout505.xml"/><Relationship Id="rId84" Type="http://schemas.openxmlformats.org/officeDocument/2006/relationships/slideLayout" Target="../slideLayouts/slideLayout521.xml"/><Relationship Id="rId89" Type="http://schemas.openxmlformats.org/officeDocument/2006/relationships/slideLayout" Target="../slideLayouts/slideLayout526.xml"/><Relationship Id="rId112" Type="http://schemas.openxmlformats.org/officeDocument/2006/relationships/slideLayout" Target="../slideLayouts/slideLayout549.xml"/><Relationship Id="rId133" Type="http://schemas.openxmlformats.org/officeDocument/2006/relationships/slideLayout" Target="../slideLayouts/slideLayout570.xml"/><Relationship Id="rId138" Type="http://schemas.openxmlformats.org/officeDocument/2006/relationships/slideLayout" Target="../slideLayouts/slideLayout575.xml"/><Relationship Id="rId154" Type="http://schemas.openxmlformats.org/officeDocument/2006/relationships/slideLayout" Target="../slideLayouts/slideLayout591.xml"/><Relationship Id="rId159" Type="http://schemas.openxmlformats.org/officeDocument/2006/relationships/slideLayout" Target="../slideLayouts/slideLayout596.xml"/><Relationship Id="rId175" Type="http://schemas.openxmlformats.org/officeDocument/2006/relationships/slideLayout" Target="../slideLayouts/slideLayout612.xml"/><Relationship Id="rId170" Type="http://schemas.openxmlformats.org/officeDocument/2006/relationships/slideLayout" Target="../slideLayouts/slideLayout607.xml"/><Relationship Id="rId16" Type="http://schemas.openxmlformats.org/officeDocument/2006/relationships/slideLayout" Target="../slideLayouts/slideLayout453.xml"/><Relationship Id="rId107" Type="http://schemas.openxmlformats.org/officeDocument/2006/relationships/slideLayout" Target="../slideLayouts/slideLayout544.xml"/><Relationship Id="rId11" Type="http://schemas.openxmlformats.org/officeDocument/2006/relationships/slideLayout" Target="../slideLayouts/slideLayout448.xml"/><Relationship Id="rId32" Type="http://schemas.openxmlformats.org/officeDocument/2006/relationships/slideLayout" Target="../slideLayouts/slideLayout469.xml"/><Relationship Id="rId37" Type="http://schemas.openxmlformats.org/officeDocument/2006/relationships/slideLayout" Target="../slideLayouts/slideLayout474.xml"/><Relationship Id="rId53" Type="http://schemas.openxmlformats.org/officeDocument/2006/relationships/slideLayout" Target="../slideLayouts/slideLayout490.xml"/><Relationship Id="rId58" Type="http://schemas.openxmlformats.org/officeDocument/2006/relationships/slideLayout" Target="../slideLayouts/slideLayout495.xml"/><Relationship Id="rId74" Type="http://schemas.openxmlformats.org/officeDocument/2006/relationships/slideLayout" Target="../slideLayouts/slideLayout511.xml"/><Relationship Id="rId79" Type="http://schemas.openxmlformats.org/officeDocument/2006/relationships/slideLayout" Target="../slideLayouts/slideLayout516.xml"/><Relationship Id="rId102" Type="http://schemas.openxmlformats.org/officeDocument/2006/relationships/slideLayout" Target="../slideLayouts/slideLayout539.xml"/><Relationship Id="rId123" Type="http://schemas.openxmlformats.org/officeDocument/2006/relationships/slideLayout" Target="../slideLayouts/slideLayout560.xml"/><Relationship Id="rId128" Type="http://schemas.openxmlformats.org/officeDocument/2006/relationships/slideLayout" Target="../slideLayouts/slideLayout565.xml"/><Relationship Id="rId144" Type="http://schemas.openxmlformats.org/officeDocument/2006/relationships/slideLayout" Target="../slideLayouts/slideLayout581.xml"/><Relationship Id="rId149" Type="http://schemas.openxmlformats.org/officeDocument/2006/relationships/slideLayout" Target="../slideLayouts/slideLayout586.xml"/><Relationship Id="rId5" Type="http://schemas.openxmlformats.org/officeDocument/2006/relationships/slideLayout" Target="../slideLayouts/slideLayout442.xml"/><Relationship Id="rId90" Type="http://schemas.openxmlformats.org/officeDocument/2006/relationships/slideLayout" Target="../slideLayouts/slideLayout527.xml"/><Relationship Id="rId95" Type="http://schemas.openxmlformats.org/officeDocument/2006/relationships/slideLayout" Target="../slideLayouts/slideLayout532.xml"/><Relationship Id="rId160" Type="http://schemas.openxmlformats.org/officeDocument/2006/relationships/slideLayout" Target="../slideLayouts/slideLayout597.xml"/><Relationship Id="rId165" Type="http://schemas.openxmlformats.org/officeDocument/2006/relationships/slideLayout" Target="../slideLayouts/slideLayout602.xml"/><Relationship Id="rId22" Type="http://schemas.openxmlformats.org/officeDocument/2006/relationships/slideLayout" Target="../slideLayouts/slideLayout459.xml"/><Relationship Id="rId27" Type="http://schemas.openxmlformats.org/officeDocument/2006/relationships/slideLayout" Target="../slideLayouts/slideLayout464.xml"/><Relationship Id="rId43" Type="http://schemas.openxmlformats.org/officeDocument/2006/relationships/slideLayout" Target="../slideLayouts/slideLayout480.xml"/><Relationship Id="rId48" Type="http://schemas.openxmlformats.org/officeDocument/2006/relationships/slideLayout" Target="../slideLayouts/slideLayout485.xml"/><Relationship Id="rId64" Type="http://schemas.openxmlformats.org/officeDocument/2006/relationships/slideLayout" Target="../slideLayouts/slideLayout501.xml"/><Relationship Id="rId69" Type="http://schemas.openxmlformats.org/officeDocument/2006/relationships/slideLayout" Target="../slideLayouts/slideLayout506.xml"/><Relationship Id="rId113" Type="http://schemas.openxmlformats.org/officeDocument/2006/relationships/slideLayout" Target="../slideLayouts/slideLayout550.xml"/><Relationship Id="rId118" Type="http://schemas.openxmlformats.org/officeDocument/2006/relationships/slideLayout" Target="../slideLayouts/slideLayout555.xml"/><Relationship Id="rId134" Type="http://schemas.openxmlformats.org/officeDocument/2006/relationships/slideLayout" Target="../slideLayouts/slideLayout571.xml"/><Relationship Id="rId139" Type="http://schemas.openxmlformats.org/officeDocument/2006/relationships/slideLayout" Target="../slideLayouts/slideLayout576.xml"/><Relationship Id="rId80" Type="http://schemas.openxmlformats.org/officeDocument/2006/relationships/slideLayout" Target="../slideLayouts/slideLayout517.xml"/><Relationship Id="rId85" Type="http://schemas.openxmlformats.org/officeDocument/2006/relationships/slideLayout" Target="../slideLayouts/slideLayout522.xml"/><Relationship Id="rId150" Type="http://schemas.openxmlformats.org/officeDocument/2006/relationships/slideLayout" Target="../slideLayouts/slideLayout587.xml"/><Relationship Id="rId155" Type="http://schemas.openxmlformats.org/officeDocument/2006/relationships/slideLayout" Target="../slideLayouts/slideLayout592.xml"/><Relationship Id="rId171" Type="http://schemas.openxmlformats.org/officeDocument/2006/relationships/slideLayout" Target="../slideLayouts/slideLayout608.xml"/><Relationship Id="rId176" Type="http://schemas.openxmlformats.org/officeDocument/2006/relationships/slideLayout" Target="../slideLayouts/slideLayout613.xml"/><Relationship Id="rId12" Type="http://schemas.openxmlformats.org/officeDocument/2006/relationships/slideLayout" Target="../slideLayouts/slideLayout449.xml"/><Relationship Id="rId17" Type="http://schemas.openxmlformats.org/officeDocument/2006/relationships/slideLayout" Target="../slideLayouts/slideLayout454.xml"/><Relationship Id="rId33" Type="http://schemas.openxmlformats.org/officeDocument/2006/relationships/slideLayout" Target="../slideLayouts/slideLayout470.xml"/><Relationship Id="rId38" Type="http://schemas.openxmlformats.org/officeDocument/2006/relationships/slideLayout" Target="../slideLayouts/slideLayout475.xml"/><Relationship Id="rId59" Type="http://schemas.openxmlformats.org/officeDocument/2006/relationships/slideLayout" Target="../slideLayouts/slideLayout496.xml"/><Relationship Id="rId103" Type="http://schemas.openxmlformats.org/officeDocument/2006/relationships/slideLayout" Target="../slideLayouts/slideLayout540.xml"/><Relationship Id="rId108" Type="http://schemas.openxmlformats.org/officeDocument/2006/relationships/slideLayout" Target="../slideLayouts/slideLayout545.xml"/><Relationship Id="rId124" Type="http://schemas.openxmlformats.org/officeDocument/2006/relationships/slideLayout" Target="../slideLayouts/slideLayout561.xml"/><Relationship Id="rId129" Type="http://schemas.openxmlformats.org/officeDocument/2006/relationships/slideLayout" Target="../slideLayouts/slideLayout566.xml"/><Relationship Id="rId54" Type="http://schemas.openxmlformats.org/officeDocument/2006/relationships/slideLayout" Target="../slideLayouts/slideLayout491.xml"/><Relationship Id="rId70" Type="http://schemas.openxmlformats.org/officeDocument/2006/relationships/slideLayout" Target="../slideLayouts/slideLayout507.xml"/><Relationship Id="rId75" Type="http://schemas.openxmlformats.org/officeDocument/2006/relationships/slideLayout" Target="../slideLayouts/slideLayout512.xml"/><Relationship Id="rId91" Type="http://schemas.openxmlformats.org/officeDocument/2006/relationships/slideLayout" Target="../slideLayouts/slideLayout528.xml"/><Relationship Id="rId96" Type="http://schemas.openxmlformats.org/officeDocument/2006/relationships/slideLayout" Target="../slideLayouts/slideLayout533.xml"/><Relationship Id="rId140" Type="http://schemas.openxmlformats.org/officeDocument/2006/relationships/slideLayout" Target="../slideLayouts/slideLayout577.xml"/><Relationship Id="rId145" Type="http://schemas.openxmlformats.org/officeDocument/2006/relationships/slideLayout" Target="../slideLayouts/slideLayout582.xml"/><Relationship Id="rId161" Type="http://schemas.openxmlformats.org/officeDocument/2006/relationships/slideLayout" Target="../slideLayouts/slideLayout598.xml"/><Relationship Id="rId166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438.xml"/><Relationship Id="rId6" Type="http://schemas.openxmlformats.org/officeDocument/2006/relationships/slideLayout" Target="../slideLayouts/slideLayout443.xml"/><Relationship Id="rId23" Type="http://schemas.openxmlformats.org/officeDocument/2006/relationships/slideLayout" Target="../slideLayouts/slideLayout460.xml"/><Relationship Id="rId28" Type="http://schemas.openxmlformats.org/officeDocument/2006/relationships/slideLayout" Target="../slideLayouts/slideLayout465.xml"/><Relationship Id="rId49" Type="http://schemas.openxmlformats.org/officeDocument/2006/relationships/slideLayout" Target="../slideLayouts/slideLayout486.xml"/><Relationship Id="rId114" Type="http://schemas.openxmlformats.org/officeDocument/2006/relationships/slideLayout" Target="../slideLayouts/slideLayout551.xml"/><Relationship Id="rId119" Type="http://schemas.openxmlformats.org/officeDocument/2006/relationships/slideLayout" Target="../slideLayouts/slideLayout556.xml"/><Relationship Id="rId10" Type="http://schemas.openxmlformats.org/officeDocument/2006/relationships/slideLayout" Target="../slideLayouts/slideLayout447.xml"/><Relationship Id="rId31" Type="http://schemas.openxmlformats.org/officeDocument/2006/relationships/slideLayout" Target="../slideLayouts/slideLayout468.xml"/><Relationship Id="rId44" Type="http://schemas.openxmlformats.org/officeDocument/2006/relationships/slideLayout" Target="../slideLayouts/slideLayout481.xml"/><Relationship Id="rId52" Type="http://schemas.openxmlformats.org/officeDocument/2006/relationships/slideLayout" Target="../slideLayouts/slideLayout489.xml"/><Relationship Id="rId60" Type="http://schemas.openxmlformats.org/officeDocument/2006/relationships/slideLayout" Target="../slideLayouts/slideLayout497.xml"/><Relationship Id="rId65" Type="http://schemas.openxmlformats.org/officeDocument/2006/relationships/slideLayout" Target="../slideLayouts/slideLayout502.xml"/><Relationship Id="rId73" Type="http://schemas.openxmlformats.org/officeDocument/2006/relationships/slideLayout" Target="../slideLayouts/slideLayout510.xml"/><Relationship Id="rId78" Type="http://schemas.openxmlformats.org/officeDocument/2006/relationships/slideLayout" Target="../slideLayouts/slideLayout515.xml"/><Relationship Id="rId81" Type="http://schemas.openxmlformats.org/officeDocument/2006/relationships/slideLayout" Target="../slideLayouts/slideLayout518.xml"/><Relationship Id="rId86" Type="http://schemas.openxmlformats.org/officeDocument/2006/relationships/slideLayout" Target="../slideLayouts/slideLayout523.xml"/><Relationship Id="rId94" Type="http://schemas.openxmlformats.org/officeDocument/2006/relationships/slideLayout" Target="../slideLayouts/slideLayout531.xml"/><Relationship Id="rId99" Type="http://schemas.openxmlformats.org/officeDocument/2006/relationships/slideLayout" Target="../slideLayouts/slideLayout536.xml"/><Relationship Id="rId101" Type="http://schemas.openxmlformats.org/officeDocument/2006/relationships/slideLayout" Target="../slideLayouts/slideLayout538.xml"/><Relationship Id="rId122" Type="http://schemas.openxmlformats.org/officeDocument/2006/relationships/slideLayout" Target="../slideLayouts/slideLayout559.xml"/><Relationship Id="rId130" Type="http://schemas.openxmlformats.org/officeDocument/2006/relationships/slideLayout" Target="../slideLayouts/slideLayout567.xml"/><Relationship Id="rId135" Type="http://schemas.openxmlformats.org/officeDocument/2006/relationships/slideLayout" Target="../slideLayouts/slideLayout572.xml"/><Relationship Id="rId143" Type="http://schemas.openxmlformats.org/officeDocument/2006/relationships/slideLayout" Target="../slideLayouts/slideLayout580.xml"/><Relationship Id="rId148" Type="http://schemas.openxmlformats.org/officeDocument/2006/relationships/slideLayout" Target="../slideLayouts/slideLayout585.xml"/><Relationship Id="rId151" Type="http://schemas.openxmlformats.org/officeDocument/2006/relationships/slideLayout" Target="../slideLayouts/slideLayout588.xml"/><Relationship Id="rId156" Type="http://schemas.openxmlformats.org/officeDocument/2006/relationships/slideLayout" Target="../slideLayouts/slideLayout593.xml"/><Relationship Id="rId164" Type="http://schemas.openxmlformats.org/officeDocument/2006/relationships/slideLayout" Target="../slideLayouts/slideLayout601.xml"/><Relationship Id="rId169" Type="http://schemas.openxmlformats.org/officeDocument/2006/relationships/slideLayout" Target="../slideLayouts/slideLayout606.xml"/><Relationship Id="rId177" Type="http://schemas.openxmlformats.org/officeDocument/2006/relationships/theme" Target="../theme/theme25.xml"/><Relationship Id="rId4" Type="http://schemas.openxmlformats.org/officeDocument/2006/relationships/slideLayout" Target="../slideLayouts/slideLayout441.xml"/><Relationship Id="rId9" Type="http://schemas.openxmlformats.org/officeDocument/2006/relationships/slideLayout" Target="../slideLayouts/slideLayout446.xml"/><Relationship Id="rId172" Type="http://schemas.openxmlformats.org/officeDocument/2006/relationships/slideLayout" Target="../slideLayouts/slideLayout609.xml"/><Relationship Id="rId13" Type="http://schemas.openxmlformats.org/officeDocument/2006/relationships/slideLayout" Target="../slideLayouts/slideLayout450.xml"/><Relationship Id="rId18" Type="http://schemas.openxmlformats.org/officeDocument/2006/relationships/slideLayout" Target="../slideLayouts/slideLayout455.xml"/><Relationship Id="rId39" Type="http://schemas.openxmlformats.org/officeDocument/2006/relationships/slideLayout" Target="../slideLayouts/slideLayout476.xml"/><Relationship Id="rId109" Type="http://schemas.openxmlformats.org/officeDocument/2006/relationships/slideLayout" Target="../slideLayouts/slideLayout546.xml"/><Relationship Id="rId34" Type="http://schemas.openxmlformats.org/officeDocument/2006/relationships/slideLayout" Target="../slideLayouts/slideLayout471.xml"/><Relationship Id="rId50" Type="http://schemas.openxmlformats.org/officeDocument/2006/relationships/slideLayout" Target="../slideLayouts/slideLayout487.xml"/><Relationship Id="rId55" Type="http://schemas.openxmlformats.org/officeDocument/2006/relationships/slideLayout" Target="../slideLayouts/slideLayout492.xml"/><Relationship Id="rId76" Type="http://schemas.openxmlformats.org/officeDocument/2006/relationships/slideLayout" Target="../slideLayouts/slideLayout513.xml"/><Relationship Id="rId97" Type="http://schemas.openxmlformats.org/officeDocument/2006/relationships/slideLayout" Target="../slideLayouts/slideLayout534.xml"/><Relationship Id="rId104" Type="http://schemas.openxmlformats.org/officeDocument/2006/relationships/slideLayout" Target="../slideLayouts/slideLayout541.xml"/><Relationship Id="rId120" Type="http://schemas.openxmlformats.org/officeDocument/2006/relationships/slideLayout" Target="../slideLayouts/slideLayout557.xml"/><Relationship Id="rId125" Type="http://schemas.openxmlformats.org/officeDocument/2006/relationships/slideLayout" Target="../slideLayouts/slideLayout562.xml"/><Relationship Id="rId141" Type="http://schemas.openxmlformats.org/officeDocument/2006/relationships/slideLayout" Target="../slideLayouts/slideLayout578.xml"/><Relationship Id="rId146" Type="http://schemas.openxmlformats.org/officeDocument/2006/relationships/slideLayout" Target="../slideLayouts/slideLayout583.xml"/><Relationship Id="rId167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444.xml"/><Relationship Id="rId71" Type="http://schemas.openxmlformats.org/officeDocument/2006/relationships/slideLayout" Target="../slideLayouts/slideLayout508.xml"/><Relationship Id="rId92" Type="http://schemas.openxmlformats.org/officeDocument/2006/relationships/slideLayout" Target="../slideLayouts/slideLayout529.xml"/><Relationship Id="rId162" Type="http://schemas.openxmlformats.org/officeDocument/2006/relationships/slideLayout" Target="../slideLayouts/slideLayout599.xml"/><Relationship Id="rId2" Type="http://schemas.openxmlformats.org/officeDocument/2006/relationships/slideLayout" Target="../slideLayouts/slideLayout439.xml"/><Relationship Id="rId29" Type="http://schemas.openxmlformats.org/officeDocument/2006/relationships/slideLayout" Target="../slideLayouts/slideLayout466.xml"/><Relationship Id="rId24" Type="http://schemas.openxmlformats.org/officeDocument/2006/relationships/slideLayout" Target="../slideLayouts/slideLayout461.xml"/><Relationship Id="rId40" Type="http://schemas.openxmlformats.org/officeDocument/2006/relationships/slideLayout" Target="../slideLayouts/slideLayout477.xml"/><Relationship Id="rId45" Type="http://schemas.openxmlformats.org/officeDocument/2006/relationships/slideLayout" Target="../slideLayouts/slideLayout482.xml"/><Relationship Id="rId66" Type="http://schemas.openxmlformats.org/officeDocument/2006/relationships/slideLayout" Target="../slideLayouts/slideLayout503.xml"/><Relationship Id="rId87" Type="http://schemas.openxmlformats.org/officeDocument/2006/relationships/slideLayout" Target="../slideLayouts/slideLayout524.xml"/><Relationship Id="rId110" Type="http://schemas.openxmlformats.org/officeDocument/2006/relationships/slideLayout" Target="../slideLayouts/slideLayout547.xml"/><Relationship Id="rId115" Type="http://schemas.openxmlformats.org/officeDocument/2006/relationships/slideLayout" Target="../slideLayouts/slideLayout552.xml"/><Relationship Id="rId131" Type="http://schemas.openxmlformats.org/officeDocument/2006/relationships/slideLayout" Target="../slideLayouts/slideLayout568.xml"/><Relationship Id="rId136" Type="http://schemas.openxmlformats.org/officeDocument/2006/relationships/slideLayout" Target="../slideLayouts/slideLayout573.xml"/><Relationship Id="rId157" Type="http://schemas.openxmlformats.org/officeDocument/2006/relationships/slideLayout" Target="../slideLayouts/slideLayout594.xml"/><Relationship Id="rId178" Type="http://schemas.openxmlformats.org/officeDocument/2006/relationships/image" Target="../media/image11.png"/><Relationship Id="rId61" Type="http://schemas.openxmlformats.org/officeDocument/2006/relationships/slideLayout" Target="../slideLayouts/slideLayout498.xml"/><Relationship Id="rId82" Type="http://schemas.openxmlformats.org/officeDocument/2006/relationships/slideLayout" Target="../slideLayouts/slideLayout519.xml"/><Relationship Id="rId152" Type="http://schemas.openxmlformats.org/officeDocument/2006/relationships/slideLayout" Target="../slideLayouts/slideLayout589.xml"/><Relationship Id="rId173" Type="http://schemas.openxmlformats.org/officeDocument/2006/relationships/slideLayout" Target="../slideLayouts/slideLayout610.xml"/><Relationship Id="rId19" Type="http://schemas.openxmlformats.org/officeDocument/2006/relationships/slideLayout" Target="../slideLayouts/slideLayout456.xml"/><Relationship Id="rId14" Type="http://schemas.openxmlformats.org/officeDocument/2006/relationships/slideLayout" Target="../slideLayouts/slideLayout451.xml"/><Relationship Id="rId30" Type="http://schemas.openxmlformats.org/officeDocument/2006/relationships/slideLayout" Target="../slideLayouts/slideLayout467.xml"/><Relationship Id="rId35" Type="http://schemas.openxmlformats.org/officeDocument/2006/relationships/slideLayout" Target="../slideLayouts/slideLayout472.xml"/><Relationship Id="rId56" Type="http://schemas.openxmlformats.org/officeDocument/2006/relationships/slideLayout" Target="../slideLayouts/slideLayout493.xml"/><Relationship Id="rId77" Type="http://schemas.openxmlformats.org/officeDocument/2006/relationships/slideLayout" Target="../slideLayouts/slideLayout514.xml"/><Relationship Id="rId100" Type="http://schemas.openxmlformats.org/officeDocument/2006/relationships/slideLayout" Target="../slideLayouts/slideLayout537.xml"/><Relationship Id="rId105" Type="http://schemas.openxmlformats.org/officeDocument/2006/relationships/slideLayout" Target="../slideLayouts/slideLayout542.xml"/><Relationship Id="rId126" Type="http://schemas.openxmlformats.org/officeDocument/2006/relationships/slideLayout" Target="../slideLayouts/slideLayout563.xml"/><Relationship Id="rId147" Type="http://schemas.openxmlformats.org/officeDocument/2006/relationships/slideLayout" Target="../slideLayouts/slideLayout584.xml"/><Relationship Id="rId168" Type="http://schemas.openxmlformats.org/officeDocument/2006/relationships/slideLayout" Target="../slideLayouts/slideLayout605.xml"/><Relationship Id="rId8" Type="http://schemas.openxmlformats.org/officeDocument/2006/relationships/slideLayout" Target="../slideLayouts/slideLayout445.xml"/><Relationship Id="rId51" Type="http://schemas.openxmlformats.org/officeDocument/2006/relationships/slideLayout" Target="../slideLayouts/slideLayout488.xml"/><Relationship Id="rId72" Type="http://schemas.openxmlformats.org/officeDocument/2006/relationships/slideLayout" Target="../slideLayouts/slideLayout509.xml"/><Relationship Id="rId93" Type="http://schemas.openxmlformats.org/officeDocument/2006/relationships/slideLayout" Target="../slideLayouts/slideLayout530.xml"/><Relationship Id="rId98" Type="http://schemas.openxmlformats.org/officeDocument/2006/relationships/slideLayout" Target="../slideLayouts/slideLayout535.xml"/><Relationship Id="rId121" Type="http://schemas.openxmlformats.org/officeDocument/2006/relationships/slideLayout" Target="../slideLayouts/slideLayout558.xml"/><Relationship Id="rId142" Type="http://schemas.openxmlformats.org/officeDocument/2006/relationships/slideLayout" Target="../slideLayouts/slideLayout579.xml"/><Relationship Id="rId163" Type="http://schemas.openxmlformats.org/officeDocument/2006/relationships/slideLayout" Target="../slideLayouts/slideLayout600.xml"/><Relationship Id="rId3" Type="http://schemas.openxmlformats.org/officeDocument/2006/relationships/slideLayout" Target="../slideLayouts/slideLayout440.xml"/><Relationship Id="rId25" Type="http://schemas.openxmlformats.org/officeDocument/2006/relationships/slideLayout" Target="../slideLayouts/slideLayout462.xml"/><Relationship Id="rId46" Type="http://schemas.openxmlformats.org/officeDocument/2006/relationships/slideLayout" Target="../slideLayouts/slideLayout483.xml"/><Relationship Id="rId67" Type="http://schemas.openxmlformats.org/officeDocument/2006/relationships/slideLayout" Target="../slideLayouts/slideLayout504.xml"/><Relationship Id="rId116" Type="http://schemas.openxmlformats.org/officeDocument/2006/relationships/slideLayout" Target="../slideLayouts/slideLayout553.xml"/><Relationship Id="rId137" Type="http://schemas.openxmlformats.org/officeDocument/2006/relationships/slideLayout" Target="../slideLayouts/slideLayout574.xml"/><Relationship Id="rId158" Type="http://schemas.openxmlformats.org/officeDocument/2006/relationships/slideLayout" Target="../slideLayouts/slideLayout595.xml"/><Relationship Id="rId20" Type="http://schemas.openxmlformats.org/officeDocument/2006/relationships/slideLayout" Target="../slideLayouts/slideLayout457.xml"/><Relationship Id="rId41" Type="http://schemas.openxmlformats.org/officeDocument/2006/relationships/slideLayout" Target="../slideLayouts/slideLayout478.xml"/><Relationship Id="rId62" Type="http://schemas.openxmlformats.org/officeDocument/2006/relationships/slideLayout" Target="../slideLayouts/slideLayout499.xml"/><Relationship Id="rId83" Type="http://schemas.openxmlformats.org/officeDocument/2006/relationships/slideLayout" Target="../slideLayouts/slideLayout520.xml"/><Relationship Id="rId88" Type="http://schemas.openxmlformats.org/officeDocument/2006/relationships/slideLayout" Target="../slideLayouts/slideLayout525.xml"/><Relationship Id="rId111" Type="http://schemas.openxmlformats.org/officeDocument/2006/relationships/slideLayout" Target="../slideLayouts/slideLayout548.xml"/><Relationship Id="rId132" Type="http://schemas.openxmlformats.org/officeDocument/2006/relationships/slideLayout" Target="../slideLayouts/slideLayout569.xml"/><Relationship Id="rId153" Type="http://schemas.openxmlformats.org/officeDocument/2006/relationships/slideLayout" Target="../slideLayouts/slideLayout590.xml"/><Relationship Id="rId174" Type="http://schemas.openxmlformats.org/officeDocument/2006/relationships/slideLayout" Target="../slideLayouts/slideLayout611.xml"/><Relationship Id="rId15" Type="http://schemas.openxmlformats.org/officeDocument/2006/relationships/slideLayout" Target="../slideLayouts/slideLayout452.xml"/><Relationship Id="rId36" Type="http://schemas.openxmlformats.org/officeDocument/2006/relationships/slideLayout" Target="../slideLayouts/slideLayout473.xml"/><Relationship Id="rId57" Type="http://schemas.openxmlformats.org/officeDocument/2006/relationships/slideLayout" Target="../slideLayouts/slideLayout494.xml"/><Relationship Id="rId106" Type="http://schemas.openxmlformats.org/officeDocument/2006/relationships/slideLayout" Target="../slideLayouts/slideLayout543.xml"/><Relationship Id="rId127" Type="http://schemas.openxmlformats.org/officeDocument/2006/relationships/slideLayout" Target="../slideLayouts/slideLayout564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1.xml"/><Relationship Id="rId13" Type="http://schemas.openxmlformats.org/officeDocument/2006/relationships/slideLayout" Target="../slideLayouts/slideLayout626.xml"/><Relationship Id="rId18" Type="http://schemas.openxmlformats.org/officeDocument/2006/relationships/slideLayout" Target="../slideLayouts/slideLayout631.xml"/><Relationship Id="rId26" Type="http://schemas.openxmlformats.org/officeDocument/2006/relationships/theme" Target="../theme/theme26.xml"/><Relationship Id="rId3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634.xml"/><Relationship Id="rId7" Type="http://schemas.openxmlformats.org/officeDocument/2006/relationships/slideLayout" Target="../slideLayouts/slideLayout620.xml"/><Relationship Id="rId12" Type="http://schemas.openxmlformats.org/officeDocument/2006/relationships/slideLayout" Target="../slideLayouts/slideLayout625.xml"/><Relationship Id="rId17" Type="http://schemas.openxmlformats.org/officeDocument/2006/relationships/slideLayout" Target="../slideLayouts/slideLayout630.xml"/><Relationship Id="rId25" Type="http://schemas.openxmlformats.org/officeDocument/2006/relationships/slideLayout" Target="../slideLayouts/slideLayout638.xml"/><Relationship Id="rId2" Type="http://schemas.openxmlformats.org/officeDocument/2006/relationships/slideLayout" Target="../slideLayouts/slideLayout615.xml"/><Relationship Id="rId16" Type="http://schemas.openxmlformats.org/officeDocument/2006/relationships/slideLayout" Target="../slideLayouts/slideLayout629.xml"/><Relationship Id="rId20" Type="http://schemas.openxmlformats.org/officeDocument/2006/relationships/slideLayout" Target="../slideLayouts/slideLayout633.xml"/><Relationship Id="rId1" Type="http://schemas.openxmlformats.org/officeDocument/2006/relationships/slideLayout" Target="../slideLayouts/slideLayout614.xml"/><Relationship Id="rId6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624.xml"/><Relationship Id="rId24" Type="http://schemas.openxmlformats.org/officeDocument/2006/relationships/slideLayout" Target="../slideLayouts/slideLayout637.xml"/><Relationship Id="rId5" Type="http://schemas.openxmlformats.org/officeDocument/2006/relationships/slideLayout" Target="../slideLayouts/slideLayout618.xml"/><Relationship Id="rId15" Type="http://schemas.openxmlformats.org/officeDocument/2006/relationships/slideLayout" Target="../slideLayouts/slideLayout628.xml"/><Relationship Id="rId23" Type="http://schemas.openxmlformats.org/officeDocument/2006/relationships/slideLayout" Target="../slideLayouts/slideLayout636.xml"/><Relationship Id="rId10" Type="http://schemas.openxmlformats.org/officeDocument/2006/relationships/slideLayout" Target="../slideLayouts/slideLayout623.xml"/><Relationship Id="rId19" Type="http://schemas.openxmlformats.org/officeDocument/2006/relationships/slideLayout" Target="../slideLayouts/slideLayout632.xml"/><Relationship Id="rId4" Type="http://schemas.openxmlformats.org/officeDocument/2006/relationships/slideLayout" Target="../slideLayouts/slideLayout617.xml"/><Relationship Id="rId9" Type="http://schemas.openxmlformats.org/officeDocument/2006/relationships/slideLayout" Target="../slideLayouts/slideLayout622.xml"/><Relationship Id="rId14" Type="http://schemas.openxmlformats.org/officeDocument/2006/relationships/slideLayout" Target="../slideLayouts/slideLayout627.xml"/><Relationship Id="rId22" Type="http://schemas.openxmlformats.org/officeDocument/2006/relationships/slideLayout" Target="../slideLayouts/slideLayout635.xml"/><Relationship Id="rId27" Type="http://schemas.openxmlformats.org/officeDocument/2006/relationships/image" Target="../media/image1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6.xml"/><Relationship Id="rId13" Type="http://schemas.openxmlformats.org/officeDocument/2006/relationships/slideLayout" Target="../slideLayouts/slideLayout651.xml"/><Relationship Id="rId18" Type="http://schemas.openxmlformats.org/officeDocument/2006/relationships/slideLayout" Target="../slideLayouts/slideLayout656.xml"/><Relationship Id="rId26" Type="http://schemas.openxmlformats.org/officeDocument/2006/relationships/theme" Target="../theme/theme27.xml"/><Relationship Id="rId3" Type="http://schemas.openxmlformats.org/officeDocument/2006/relationships/slideLayout" Target="../slideLayouts/slideLayout641.xml"/><Relationship Id="rId21" Type="http://schemas.openxmlformats.org/officeDocument/2006/relationships/slideLayout" Target="../slideLayouts/slideLayout659.xml"/><Relationship Id="rId7" Type="http://schemas.openxmlformats.org/officeDocument/2006/relationships/slideLayout" Target="../slideLayouts/slideLayout645.xml"/><Relationship Id="rId12" Type="http://schemas.openxmlformats.org/officeDocument/2006/relationships/slideLayout" Target="../slideLayouts/slideLayout650.xml"/><Relationship Id="rId17" Type="http://schemas.openxmlformats.org/officeDocument/2006/relationships/slideLayout" Target="../slideLayouts/slideLayout655.xml"/><Relationship Id="rId25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40.xml"/><Relationship Id="rId16" Type="http://schemas.openxmlformats.org/officeDocument/2006/relationships/slideLayout" Target="../slideLayouts/slideLayout654.xml"/><Relationship Id="rId20" Type="http://schemas.openxmlformats.org/officeDocument/2006/relationships/slideLayout" Target="../slideLayouts/slideLayout658.xml"/><Relationship Id="rId1" Type="http://schemas.openxmlformats.org/officeDocument/2006/relationships/slideLayout" Target="../slideLayouts/slideLayout639.xml"/><Relationship Id="rId6" Type="http://schemas.openxmlformats.org/officeDocument/2006/relationships/slideLayout" Target="../slideLayouts/slideLayout644.xml"/><Relationship Id="rId11" Type="http://schemas.openxmlformats.org/officeDocument/2006/relationships/slideLayout" Target="../slideLayouts/slideLayout649.xml"/><Relationship Id="rId24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43.xml"/><Relationship Id="rId15" Type="http://schemas.openxmlformats.org/officeDocument/2006/relationships/slideLayout" Target="../slideLayouts/slideLayout653.xml"/><Relationship Id="rId23" Type="http://schemas.openxmlformats.org/officeDocument/2006/relationships/slideLayout" Target="../slideLayouts/slideLayout661.xml"/><Relationship Id="rId10" Type="http://schemas.openxmlformats.org/officeDocument/2006/relationships/slideLayout" Target="../slideLayouts/slideLayout648.xml"/><Relationship Id="rId19" Type="http://schemas.openxmlformats.org/officeDocument/2006/relationships/slideLayout" Target="../slideLayouts/slideLayout657.xml"/><Relationship Id="rId4" Type="http://schemas.openxmlformats.org/officeDocument/2006/relationships/slideLayout" Target="../slideLayouts/slideLayout642.xml"/><Relationship Id="rId9" Type="http://schemas.openxmlformats.org/officeDocument/2006/relationships/slideLayout" Target="../slideLayouts/slideLayout647.xml"/><Relationship Id="rId14" Type="http://schemas.openxmlformats.org/officeDocument/2006/relationships/slideLayout" Target="../slideLayouts/slideLayout652.xml"/><Relationship Id="rId22" Type="http://schemas.openxmlformats.org/officeDocument/2006/relationships/slideLayout" Target="../slideLayouts/slideLayout660.xml"/><Relationship Id="rId27" Type="http://schemas.openxmlformats.org/officeDocument/2006/relationships/image" Target="../media/image11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1.xml"/><Relationship Id="rId13" Type="http://schemas.openxmlformats.org/officeDocument/2006/relationships/slideLayout" Target="../slideLayouts/slideLayout676.xml"/><Relationship Id="rId18" Type="http://schemas.openxmlformats.org/officeDocument/2006/relationships/slideLayout" Target="../slideLayouts/slideLayout681.xml"/><Relationship Id="rId26" Type="http://schemas.openxmlformats.org/officeDocument/2006/relationships/theme" Target="../theme/theme28.xml"/><Relationship Id="rId3" Type="http://schemas.openxmlformats.org/officeDocument/2006/relationships/slideLayout" Target="../slideLayouts/slideLayout666.xml"/><Relationship Id="rId21" Type="http://schemas.openxmlformats.org/officeDocument/2006/relationships/slideLayout" Target="../slideLayouts/slideLayout684.xml"/><Relationship Id="rId7" Type="http://schemas.openxmlformats.org/officeDocument/2006/relationships/slideLayout" Target="../slideLayouts/slideLayout670.xml"/><Relationship Id="rId12" Type="http://schemas.openxmlformats.org/officeDocument/2006/relationships/slideLayout" Target="../slideLayouts/slideLayout675.xml"/><Relationship Id="rId17" Type="http://schemas.openxmlformats.org/officeDocument/2006/relationships/slideLayout" Target="../slideLayouts/slideLayout680.xml"/><Relationship Id="rId25" Type="http://schemas.openxmlformats.org/officeDocument/2006/relationships/slideLayout" Target="../slideLayouts/slideLayout688.xml"/><Relationship Id="rId2" Type="http://schemas.openxmlformats.org/officeDocument/2006/relationships/slideLayout" Target="../slideLayouts/slideLayout665.xml"/><Relationship Id="rId16" Type="http://schemas.openxmlformats.org/officeDocument/2006/relationships/slideLayout" Target="../slideLayouts/slideLayout679.xml"/><Relationship Id="rId20" Type="http://schemas.openxmlformats.org/officeDocument/2006/relationships/slideLayout" Target="../slideLayouts/slideLayout683.xml"/><Relationship Id="rId1" Type="http://schemas.openxmlformats.org/officeDocument/2006/relationships/slideLayout" Target="../slideLayouts/slideLayout664.xml"/><Relationship Id="rId6" Type="http://schemas.openxmlformats.org/officeDocument/2006/relationships/slideLayout" Target="../slideLayouts/slideLayout669.xml"/><Relationship Id="rId11" Type="http://schemas.openxmlformats.org/officeDocument/2006/relationships/slideLayout" Target="../slideLayouts/slideLayout674.xml"/><Relationship Id="rId24" Type="http://schemas.openxmlformats.org/officeDocument/2006/relationships/slideLayout" Target="../slideLayouts/slideLayout687.xml"/><Relationship Id="rId5" Type="http://schemas.openxmlformats.org/officeDocument/2006/relationships/slideLayout" Target="../slideLayouts/slideLayout668.xml"/><Relationship Id="rId15" Type="http://schemas.openxmlformats.org/officeDocument/2006/relationships/slideLayout" Target="../slideLayouts/slideLayout678.xml"/><Relationship Id="rId23" Type="http://schemas.openxmlformats.org/officeDocument/2006/relationships/slideLayout" Target="../slideLayouts/slideLayout686.xml"/><Relationship Id="rId10" Type="http://schemas.openxmlformats.org/officeDocument/2006/relationships/slideLayout" Target="../slideLayouts/slideLayout673.xml"/><Relationship Id="rId19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67.xml"/><Relationship Id="rId9" Type="http://schemas.openxmlformats.org/officeDocument/2006/relationships/slideLayout" Target="../slideLayouts/slideLayout672.xml"/><Relationship Id="rId14" Type="http://schemas.openxmlformats.org/officeDocument/2006/relationships/slideLayout" Target="../slideLayouts/slideLayout677.xml"/><Relationship Id="rId22" Type="http://schemas.openxmlformats.org/officeDocument/2006/relationships/slideLayout" Target="../slideLayouts/slideLayout685.xml"/><Relationship Id="rId27" Type="http://schemas.openxmlformats.org/officeDocument/2006/relationships/image" Target="../media/image11.pn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6.xml"/><Relationship Id="rId13" Type="http://schemas.openxmlformats.org/officeDocument/2006/relationships/slideLayout" Target="../slideLayouts/slideLayout701.xml"/><Relationship Id="rId18" Type="http://schemas.openxmlformats.org/officeDocument/2006/relationships/slideLayout" Target="../slideLayouts/slideLayout706.xml"/><Relationship Id="rId26" Type="http://schemas.openxmlformats.org/officeDocument/2006/relationships/theme" Target="../theme/theme29.xml"/><Relationship Id="rId3" Type="http://schemas.openxmlformats.org/officeDocument/2006/relationships/slideLayout" Target="../slideLayouts/slideLayout691.xml"/><Relationship Id="rId21" Type="http://schemas.openxmlformats.org/officeDocument/2006/relationships/slideLayout" Target="../slideLayouts/slideLayout709.xml"/><Relationship Id="rId7" Type="http://schemas.openxmlformats.org/officeDocument/2006/relationships/slideLayout" Target="../slideLayouts/slideLayout695.xml"/><Relationship Id="rId12" Type="http://schemas.openxmlformats.org/officeDocument/2006/relationships/slideLayout" Target="../slideLayouts/slideLayout700.xml"/><Relationship Id="rId17" Type="http://schemas.openxmlformats.org/officeDocument/2006/relationships/slideLayout" Target="../slideLayouts/slideLayout705.xml"/><Relationship Id="rId25" Type="http://schemas.openxmlformats.org/officeDocument/2006/relationships/slideLayout" Target="../slideLayouts/slideLayout713.xml"/><Relationship Id="rId2" Type="http://schemas.openxmlformats.org/officeDocument/2006/relationships/slideLayout" Target="../slideLayouts/slideLayout690.xml"/><Relationship Id="rId16" Type="http://schemas.openxmlformats.org/officeDocument/2006/relationships/slideLayout" Target="../slideLayouts/slideLayout704.xml"/><Relationship Id="rId20" Type="http://schemas.openxmlformats.org/officeDocument/2006/relationships/slideLayout" Target="../slideLayouts/slideLayout708.xml"/><Relationship Id="rId1" Type="http://schemas.openxmlformats.org/officeDocument/2006/relationships/slideLayout" Target="../slideLayouts/slideLayout689.xml"/><Relationship Id="rId6" Type="http://schemas.openxmlformats.org/officeDocument/2006/relationships/slideLayout" Target="../slideLayouts/slideLayout694.xml"/><Relationship Id="rId11" Type="http://schemas.openxmlformats.org/officeDocument/2006/relationships/slideLayout" Target="../slideLayouts/slideLayout699.xml"/><Relationship Id="rId24" Type="http://schemas.openxmlformats.org/officeDocument/2006/relationships/slideLayout" Target="../slideLayouts/slideLayout712.xml"/><Relationship Id="rId5" Type="http://schemas.openxmlformats.org/officeDocument/2006/relationships/slideLayout" Target="../slideLayouts/slideLayout693.xml"/><Relationship Id="rId15" Type="http://schemas.openxmlformats.org/officeDocument/2006/relationships/slideLayout" Target="../slideLayouts/slideLayout703.xml"/><Relationship Id="rId23" Type="http://schemas.openxmlformats.org/officeDocument/2006/relationships/slideLayout" Target="../slideLayouts/slideLayout711.xml"/><Relationship Id="rId10" Type="http://schemas.openxmlformats.org/officeDocument/2006/relationships/slideLayout" Target="../slideLayouts/slideLayout698.xml"/><Relationship Id="rId19" Type="http://schemas.openxmlformats.org/officeDocument/2006/relationships/slideLayout" Target="../slideLayouts/slideLayout707.xml"/><Relationship Id="rId4" Type="http://schemas.openxmlformats.org/officeDocument/2006/relationships/slideLayout" Target="../slideLayouts/slideLayout692.xml"/><Relationship Id="rId9" Type="http://schemas.openxmlformats.org/officeDocument/2006/relationships/slideLayout" Target="../slideLayouts/slideLayout697.xml"/><Relationship Id="rId14" Type="http://schemas.openxmlformats.org/officeDocument/2006/relationships/slideLayout" Target="../slideLayouts/slideLayout702.xml"/><Relationship Id="rId22" Type="http://schemas.openxmlformats.org/officeDocument/2006/relationships/slideLayout" Target="../slideLayouts/slideLayout710.xml"/><Relationship Id="rId27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heme" Target="../theme/theme30.xml"/><Relationship Id="rId2" Type="http://schemas.openxmlformats.org/officeDocument/2006/relationships/slideLayout" Target="../slideLayouts/slideLayout715.xml"/><Relationship Id="rId1" Type="http://schemas.openxmlformats.org/officeDocument/2006/relationships/slideLayout" Target="../slideLayouts/slideLayout714.xml"/><Relationship Id="rId6" Type="http://schemas.openxmlformats.org/officeDocument/2006/relationships/oleObject" Target="../embeddings/oleObject170.bin"/><Relationship Id="rId5" Type="http://schemas.openxmlformats.org/officeDocument/2006/relationships/tags" Target="../tags/tag378.xml"/><Relationship Id="rId4" Type="http://schemas.openxmlformats.org/officeDocument/2006/relationships/vmlDrawing" Target="../drawings/vmlDrawing170.v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theme" Target="../theme/theme31.xml"/><Relationship Id="rId2" Type="http://schemas.openxmlformats.org/officeDocument/2006/relationships/slideLayout" Target="../slideLayouts/slideLayout717.xml"/><Relationship Id="rId1" Type="http://schemas.openxmlformats.org/officeDocument/2006/relationships/slideLayout" Target="../slideLayouts/slideLayout716.xml"/><Relationship Id="rId6" Type="http://schemas.openxmlformats.org/officeDocument/2006/relationships/oleObject" Target="../embeddings/oleObject173.bin"/><Relationship Id="rId5" Type="http://schemas.openxmlformats.org/officeDocument/2006/relationships/tags" Target="../tags/tag380.xml"/><Relationship Id="rId4" Type="http://schemas.openxmlformats.org/officeDocument/2006/relationships/vmlDrawing" Target="../drawings/vmlDrawing173.v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5.xml"/><Relationship Id="rId3" Type="http://schemas.openxmlformats.org/officeDocument/2006/relationships/slideLayout" Target="../slideLayouts/slideLayout720.xml"/><Relationship Id="rId7" Type="http://schemas.openxmlformats.org/officeDocument/2006/relationships/slideLayout" Target="../slideLayouts/slideLayout724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719.xml"/><Relationship Id="rId1" Type="http://schemas.openxmlformats.org/officeDocument/2006/relationships/slideLayout" Target="../slideLayouts/slideLayout718.xml"/><Relationship Id="rId6" Type="http://schemas.openxmlformats.org/officeDocument/2006/relationships/slideLayout" Target="../slideLayouts/slideLayout723.xml"/><Relationship Id="rId11" Type="http://schemas.openxmlformats.org/officeDocument/2006/relationships/slideLayout" Target="../slideLayouts/slideLayout728.xml"/><Relationship Id="rId5" Type="http://schemas.openxmlformats.org/officeDocument/2006/relationships/slideLayout" Target="../slideLayouts/slideLayout722.xml"/><Relationship Id="rId10" Type="http://schemas.openxmlformats.org/officeDocument/2006/relationships/slideLayout" Target="../slideLayouts/slideLayout727.xml"/><Relationship Id="rId4" Type="http://schemas.openxmlformats.org/officeDocument/2006/relationships/slideLayout" Target="../slideLayouts/slideLayout721.xml"/><Relationship Id="rId9" Type="http://schemas.openxmlformats.org/officeDocument/2006/relationships/slideLayout" Target="../slideLayouts/slideLayout726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13" Type="http://schemas.openxmlformats.org/officeDocument/2006/relationships/slideLayout" Target="../slideLayouts/slideLayout741.xml"/><Relationship Id="rId18" Type="http://schemas.openxmlformats.org/officeDocument/2006/relationships/slideLayout" Target="../slideLayouts/slideLayout746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731.xml"/><Relationship Id="rId21" Type="http://schemas.openxmlformats.org/officeDocument/2006/relationships/slideLayout" Target="../slideLayouts/slideLayout749.xml"/><Relationship Id="rId7" Type="http://schemas.openxmlformats.org/officeDocument/2006/relationships/slideLayout" Target="../slideLayouts/slideLayout735.xml"/><Relationship Id="rId12" Type="http://schemas.openxmlformats.org/officeDocument/2006/relationships/slideLayout" Target="../slideLayouts/slideLayout740.xml"/><Relationship Id="rId17" Type="http://schemas.openxmlformats.org/officeDocument/2006/relationships/slideLayout" Target="../slideLayouts/slideLayout745.xml"/><Relationship Id="rId25" Type="http://schemas.openxmlformats.org/officeDocument/2006/relationships/theme" Target="../theme/theme33.xml"/><Relationship Id="rId2" Type="http://schemas.openxmlformats.org/officeDocument/2006/relationships/slideLayout" Target="../slideLayouts/slideLayout730.xml"/><Relationship Id="rId16" Type="http://schemas.openxmlformats.org/officeDocument/2006/relationships/slideLayout" Target="../slideLayouts/slideLayout744.xml"/><Relationship Id="rId20" Type="http://schemas.openxmlformats.org/officeDocument/2006/relationships/slideLayout" Target="../slideLayouts/slideLayout748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11" Type="http://schemas.openxmlformats.org/officeDocument/2006/relationships/slideLayout" Target="../slideLayouts/slideLayout739.xml"/><Relationship Id="rId24" Type="http://schemas.openxmlformats.org/officeDocument/2006/relationships/slideLayout" Target="../slideLayouts/slideLayout752.xml"/><Relationship Id="rId5" Type="http://schemas.openxmlformats.org/officeDocument/2006/relationships/slideLayout" Target="../slideLayouts/slideLayout733.xml"/><Relationship Id="rId15" Type="http://schemas.openxmlformats.org/officeDocument/2006/relationships/slideLayout" Target="../slideLayouts/slideLayout743.xml"/><Relationship Id="rId23" Type="http://schemas.openxmlformats.org/officeDocument/2006/relationships/slideLayout" Target="../slideLayouts/slideLayout751.xml"/><Relationship Id="rId10" Type="http://schemas.openxmlformats.org/officeDocument/2006/relationships/slideLayout" Target="../slideLayouts/slideLayout738.xml"/><Relationship Id="rId19" Type="http://schemas.openxmlformats.org/officeDocument/2006/relationships/slideLayout" Target="../slideLayouts/slideLayout747.xml"/><Relationship Id="rId4" Type="http://schemas.openxmlformats.org/officeDocument/2006/relationships/slideLayout" Target="../slideLayouts/slideLayout732.xml"/><Relationship Id="rId9" Type="http://schemas.openxmlformats.org/officeDocument/2006/relationships/slideLayout" Target="../slideLayouts/slideLayout737.xml"/><Relationship Id="rId14" Type="http://schemas.openxmlformats.org/officeDocument/2006/relationships/slideLayout" Target="../slideLayouts/slideLayout742.xml"/><Relationship Id="rId22" Type="http://schemas.openxmlformats.org/officeDocument/2006/relationships/slideLayout" Target="../slideLayouts/slideLayout750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0.xml"/><Relationship Id="rId13" Type="http://schemas.openxmlformats.org/officeDocument/2006/relationships/slideLayout" Target="../slideLayouts/slideLayout765.xml"/><Relationship Id="rId18" Type="http://schemas.openxmlformats.org/officeDocument/2006/relationships/slideLayout" Target="../slideLayouts/slideLayout770.xml"/><Relationship Id="rId26" Type="http://schemas.openxmlformats.org/officeDocument/2006/relationships/theme" Target="../theme/theme34.xml"/><Relationship Id="rId3" Type="http://schemas.openxmlformats.org/officeDocument/2006/relationships/slideLayout" Target="../slideLayouts/slideLayout755.xml"/><Relationship Id="rId21" Type="http://schemas.openxmlformats.org/officeDocument/2006/relationships/slideLayout" Target="../slideLayouts/slideLayout773.xml"/><Relationship Id="rId7" Type="http://schemas.openxmlformats.org/officeDocument/2006/relationships/slideLayout" Target="../slideLayouts/slideLayout759.xml"/><Relationship Id="rId12" Type="http://schemas.openxmlformats.org/officeDocument/2006/relationships/slideLayout" Target="../slideLayouts/slideLayout764.xml"/><Relationship Id="rId17" Type="http://schemas.openxmlformats.org/officeDocument/2006/relationships/slideLayout" Target="../slideLayouts/slideLayout769.xml"/><Relationship Id="rId25" Type="http://schemas.openxmlformats.org/officeDocument/2006/relationships/slideLayout" Target="../slideLayouts/slideLayout777.xml"/><Relationship Id="rId2" Type="http://schemas.openxmlformats.org/officeDocument/2006/relationships/slideLayout" Target="../slideLayouts/slideLayout754.xml"/><Relationship Id="rId16" Type="http://schemas.openxmlformats.org/officeDocument/2006/relationships/slideLayout" Target="../slideLayouts/slideLayout768.xml"/><Relationship Id="rId20" Type="http://schemas.openxmlformats.org/officeDocument/2006/relationships/slideLayout" Target="../slideLayouts/slideLayout772.xml"/><Relationship Id="rId1" Type="http://schemas.openxmlformats.org/officeDocument/2006/relationships/slideLayout" Target="../slideLayouts/slideLayout753.xml"/><Relationship Id="rId6" Type="http://schemas.openxmlformats.org/officeDocument/2006/relationships/slideLayout" Target="../slideLayouts/slideLayout758.xml"/><Relationship Id="rId11" Type="http://schemas.openxmlformats.org/officeDocument/2006/relationships/slideLayout" Target="../slideLayouts/slideLayout763.xml"/><Relationship Id="rId24" Type="http://schemas.openxmlformats.org/officeDocument/2006/relationships/slideLayout" Target="../slideLayouts/slideLayout776.xml"/><Relationship Id="rId5" Type="http://schemas.openxmlformats.org/officeDocument/2006/relationships/slideLayout" Target="../slideLayouts/slideLayout757.xml"/><Relationship Id="rId15" Type="http://schemas.openxmlformats.org/officeDocument/2006/relationships/slideLayout" Target="../slideLayouts/slideLayout767.xml"/><Relationship Id="rId23" Type="http://schemas.openxmlformats.org/officeDocument/2006/relationships/slideLayout" Target="../slideLayouts/slideLayout775.xml"/><Relationship Id="rId10" Type="http://schemas.openxmlformats.org/officeDocument/2006/relationships/slideLayout" Target="../slideLayouts/slideLayout762.xml"/><Relationship Id="rId19" Type="http://schemas.openxmlformats.org/officeDocument/2006/relationships/slideLayout" Target="../slideLayouts/slideLayout771.xml"/><Relationship Id="rId4" Type="http://schemas.openxmlformats.org/officeDocument/2006/relationships/slideLayout" Target="../slideLayouts/slideLayout756.xml"/><Relationship Id="rId9" Type="http://schemas.openxmlformats.org/officeDocument/2006/relationships/slideLayout" Target="../slideLayouts/slideLayout761.xml"/><Relationship Id="rId14" Type="http://schemas.openxmlformats.org/officeDocument/2006/relationships/slideLayout" Target="../slideLayouts/slideLayout766.xml"/><Relationship Id="rId22" Type="http://schemas.openxmlformats.org/officeDocument/2006/relationships/slideLayout" Target="../slideLayouts/slideLayout774.xml"/><Relationship Id="rId27" Type="http://schemas.openxmlformats.org/officeDocument/2006/relationships/image" Target="../media/image11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5.xml"/><Relationship Id="rId13" Type="http://schemas.openxmlformats.org/officeDocument/2006/relationships/slideLayout" Target="../slideLayouts/slideLayout790.xml"/><Relationship Id="rId18" Type="http://schemas.openxmlformats.org/officeDocument/2006/relationships/slideLayout" Target="../slideLayouts/slideLayout795.xml"/><Relationship Id="rId26" Type="http://schemas.openxmlformats.org/officeDocument/2006/relationships/theme" Target="../theme/theme35.xml"/><Relationship Id="rId3" Type="http://schemas.openxmlformats.org/officeDocument/2006/relationships/slideLayout" Target="../slideLayouts/slideLayout780.xml"/><Relationship Id="rId21" Type="http://schemas.openxmlformats.org/officeDocument/2006/relationships/slideLayout" Target="../slideLayouts/slideLayout798.xml"/><Relationship Id="rId7" Type="http://schemas.openxmlformats.org/officeDocument/2006/relationships/slideLayout" Target="../slideLayouts/slideLayout784.xml"/><Relationship Id="rId12" Type="http://schemas.openxmlformats.org/officeDocument/2006/relationships/slideLayout" Target="../slideLayouts/slideLayout789.xml"/><Relationship Id="rId17" Type="http://schemas.openxmlformats.org/officeDocument/2006/relationships/slideLayout" Target="../slideLayouts/slideLayout794.xml"/><Relationship Id="rId25" Type="http://schemas.openxmlformats.org/officeDocument/2006/relationships/slideLayout" Target="../slideLayouts/slideLayout802.xml"/><Relationship Id="rId2" Type="http://schemas.openxmlformats.org/officeDocument/2006/relationships/slideLayout" Target="../slideLayouts/slideLayout779.xml"/><Relationship Id="rId16" Type="http://schemas.openxmlformats.org/officeDocument/2006/relationships/slideLayout" Target="../slideLayouts/slideLayout793.xml"/><Relationship Id="rId20" Type="http://schemas.openxmlformats.org/officeDocument/2006/relationships/slideLayout" Target="../slideLayouts/slideLayout797.xml"/><Relationship Id="rId1" Type="http://schemas.openxmlformats.org/officeDocument/2006/relationships/slideLayout" Target="../slideLayouts/slideLayout778.xml"/><Relationship Id="rId6" Type="http://schemas.openxmlformats.org/officeDocument/2006/relationships/slideLayout" Target="../slideLayouts/slideLayout783.xml"/><Relationship Id="rId11" Type="http://schemas.openxmlformats.org/officeDocument/2006/relationships/slideLayout" Target="../slideLayouts/slideLayout788.xml"/><Relationship Id="rId24" Type="http://schemas.openxmlformats.org/officeDocument/2006/relationships/slideLayout" Target="../slideLayouts/slideLayout801.xml"/><Relationship Id="rId5" Type="http://schemas.openxmlformats.org/officeDocument/2006/relationships/slideLayout" Target="../slideLayouts/slideLayout782.xml"/><Relationship Id="rId15" Type="http://schemas.openxmlformats.org/officeDocument/2006/relationships/slideLayout" Target="../slideLayouts/slideLayout792.xml"/><Relationship Id="rId23" Type="http://schemas.openxmlformats.org/officeDocument/2006/relationships/slideLayout" Target="../slideLayouts/slideLayout800.xml"/><Relationship Id="rId10" Type="http://schemas.openxmlformats.org/officeDocument/2006/relationships/slideLayout" Target="../slideLayouts/slideLayout787.xml"/><Relationship Id="rId19" Type="http://schemas.openxmlformats.org/officeDocument/2006/relationships/slideLayout" Target="../slideLayouts/slideLayout796.xml"/><Relationship Id="rId4" Type="http://schemas.openxmlformats.org/officeDocument/2006/relationships/slideLayout" Target="../slideLayouts/slideLayout781.xml"/><Relationship Id="rId9" Type="http://schemas.openxmlformats.org/officeDocument/2006/relationships/slideLayout" Target="../slideLayouts/slideLayout786.xml"/><Relationship Id="rId14" Type="http://schemas.openxmlformats.org/officeDocument/2006/relationships/slideLayout" Target="../slideLayouts/slideLayout791.xml"/><Relationship Id="rId22" Type="http://schemas.openxmlformats.org/officeDocument/2006/relationships/slideLayout" Target="../slideLayouts/slideLayout799.xml"/><Relationship Id="rId27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43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51.xml"/><Relationship Id="rId10" Type="http://schemas.openxmlformats.org/officeDocument/2006/relationships/vmlDrawing" Target="../drawings/vmlDrawing27.v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59.xml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45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45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54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74.xml"/><Relationship Id="rId9" Type="http://schemas.openxmlformats.org/officeDocument/2006/relationships/vmlDrawing" Target="../drawings/vmlDrawing54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82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81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970432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80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 err="1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85" r:id="rId2"/>
    <p:sldLayoutId id="2147483686" r:id="rId3"/>
    <p:sldLayoutId id="2147483687" r:id="rId4"/>
    <p:sldLayoutId id="2147483711" r:id="rId5"/>
    <p:sldLayoutId id="2147483713" r:id="rId6"/>
    <p:sldLayoutId id="2147483714" r:id="rId7"/>
    <p:sldLayoutId id="214748503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854914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3112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72615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78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354751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  <p:sldLayoutId id="2147483862" r:id="rId26"/>
    <p:sldLayoutId id="2147483863" r:id="rId27"/>
    <p:sldLayoutId id="2147483864" r:id="rId28"/>
    <p:sldLayoutId id="2147483865" r:id="rId29"/>
    <p:sldLayoutId id="2147483866" r:id="rId30"/>
    <p:sldLayoutId id="2147483867" r:id="rId31"/>
    <p:sldLayoutId id="2147483868" r:id="rId32"/>
    <p:sldLayoutId id="2147483869" r:id="rId33"/>
    <p:sldLayoutId id="2147483870" r:id="rId34"/>
    <p:sldLayoutId id="2147483871" r:id="rId35"/>
    <p:sldLayoutId id="2147483872" r:id="rId36"/>
    <p:sldLayoutId id="2147483873" r:id="rId37"/>
    <p:sldLayoutId id="2147483874" r:id="rId38"/>
    <p:sldLayoutId id="2147483875" r:id="rId39"/>
    <p:sldLayoutId id="2147483876" r:id="rId40"/>
    <p:sldLayoutId id="2147483877" r:id="rId41"/>
    <p:sldLayoutId id="2147483878" r:id="rId42"/>
    <p:sldLayoutId id="2147483879" r:id="rId43"/>
    <p:sldLayoutId id="2147483880" r:id="rId44"/>
    <p:sldLayoutId id="2147483881" r:id="rId45"/>
    <p:sldLayoutId id="2147483882" r:id="rId46"/>
    <p:sldLayoutId id="2147483883" r:id="rId47"/>
    <p:sldLayoutId id="2147483884" r:id="rId48"/>
    <p:sldLayoutId id="2147483885" r:id="rId49"/>
    <p:sldLayoutId id="2147483886" r:id="rId50"/>
    <p:sldLayoutId id="2147483887" r:id="rId51"/>
    <p:sldLayoutId id="2147483888" r:id="rId52"/>
    <p:sldLayoutId id="2147483889" r:id="rId53"/>
    <p:sldLayoutId id="2147483890" r:id="rId54"/>
    <p:sldLayoutId id="2147483891" r:id="rId55"/>
    <p:sldLayoutId id="2147483892" r:id="rId56"/>
    <p:sldLayoutId id="2147483893" r:id="rId57"/>
    <p:sldLayoutId id="2147483894" r:id="rId58"/>
    <p:sldLayoutId id="2147483895" r:id="rId59"/>
    <p:sldLayoutId id="2147483896" r:id="rId60"/>
    <p:sldLayoutId id="2147483897" r:id="rId61"/>
    <p:sldLayoutId id="2147483898" r:id="rId62"/>
    <p:sldLayoutId id="2147483899" r:id="rId63"/>
    <p:sldLayoutId id="2147483900" r:id="rId64"/>
    <p:sldLayoutId id="2147483901" r:id="rId65"/>
    <p:sldLayoutId id="2147483902" r:id="rId66"/>
    <p:sldLayoutId id="2147483903" r:id="rId67"/>
    <p:sldLayoutId id="2147483904" r:id="rId68"/>
    <p:sldLayoutId id="2147483905" r:id="rId69"/>
    <p:sldLayoutId id="2147483906" r:id="rId70"/>
    <p:sldLayoutId id="2147483907" r:id="rId71"/>
    <p:sldLayoutId id="2147483908" r:id="rId72"/>
    <p:sldLayoutId id="2147483909" r:id="rId73"/>
    <p:sldLayoutId id="2147483910" r:id="rId74"/>
    <p:sldLayoutId id="2147483911" r:id="rId75"/>
    <p:sldLayoutId id="2147483912" r:id="rId76"/>
    <p:sldLayoutId id="2147483913" r:id="rId77"/>
    <p:sldLayoutId id="2147483914" r:id="rId78"/>
    <p:sldLayoutId id="2147483915" r:id="rId79"/>
    <p:sldLayoutId id="2147483916" r:id="rId80"/>
    <p:sldLayoutId id="2147483917" r:id="rId81"/>
    <p:sldLayoutId id="2147483918" r:id="rId82"/>
    <p:sldLayoutId id="2147483919" r:id="rId83"/>
    <p:sldLayoutId id="2147483920" r:id="rId84"/>
    <p:sldLayoutId id="2147483921" r:id="rId85"/>
    <p:sldLayoutId id="2147483922" r:id="rId86"/>
    <p:sldLayoutId id="2147483923" r:id="rId87"/>
    <p:sldLayoutId id="2147483924" r:id="rId88"/>
    <p:sldLayoutId id="2147483925" r:id="rId89"/>
    <p:sldLayoutId id="2147483926" r:id="rId90"/>
    <p:sldLayoutId id="2147483927" r:id="rId91"/>
    <p:sldLayoutId id="2147483928" r:id="rId92"/>
    <p:sldLayoutId id="2147483929" r:id="rId93"/>
    <p:sldLayoutId id="2147483930" r:id="rId94"/>
    <p:sldLayoutId id="2147483931" r:id="rId95"/>
    <p:sldLayoutId id="2147483932" r:id="rId96"/>
    <p:sldLayoutId id="2147483933" r:id="rId97"/>
    <p:sldLayoutId id="2147483934" r:id="rId98"/>
    <p:sldLayoutId id="2147483935" r:id="rId99"/>
    <p:sldLayoutId id="2147483936" r:id="rId100"/>
    <p:sldLayoutId id="2147483937" r:id="rId101"/>
    <p:sldLayoutId id="2147483938" r:id="rId102"/>
    <p:sldLayoutId id="2147483939" r:id="rId103"/>
    <p:sldLayoutId id="2147483940" r:id="rId104"/>
    <p:sldLayoutId id="2147483941" r:id="rId105"/>
    <p:sldLayoutId id="2147483942" r:id="rId106"/>
    <p:sldLayoutId id="2147483943" r:id="rId107"/>
    <p:sldLayoutId id="2147483944" r:id="rId108"/>
    <p:sldLayoutId id="2147483945" r:id="rId109"/>
    <p:sldLayoutId id="2147483946" r:id="rId110"/>
    <p:sldLayoutId id="2147483947" r:id="rId111"/>
    <p:sldLayoutId id="2147483948" r:id="rId112"/>
    <p:sldLayoutId id="2147483949" r:id="rId113"/>
    <p:sldLayoutId id="2147483950" r:id="rId114"/>
    <p:sldLayoutId id="2147483951" r:id="rId115"/>
    <p:sldLayoutId id="2147483952" r:id="rId116"/>
    <p:sldLayoutId id="2147483953" r:id="rId117"/>
    <p:sldLayoutId id="2147483954" r:id="rId118"/>
    <p:sldLayoutId id="2147483955" r:id="rId119"/>
    <p:sldLayoutId id="2147483956" r:id="rId120"/>
    <p:sldLayoutId id="2147483957" r:id="rId121"/>
    <p:sldLayoutId id="2147483958" r:id="rId122"/>
    <p:sldLayoutId id="2147483959" r:id="rId123"/>
    <p:sldLayoutId id="2147483960" r:id="rId124"/>
    <p:sldLayoutId id="2147483961" r:id="rId125"/>
    <p:sldLayoutId id="2147483962" r:id="rId126"/>
    <p:sldLayoutId id="2147483963" r:id="rId127"/>
    <p:sldLayoutId id="2147483964" r:id="rId128"/>
    <p:sldLayoutId id="2147483965" r:id="rId129"/>
    <p:sldLayoutId id="2147483966" r:id="rId130"/>
    <p:sldLayoutId id="2147483967" r:id="rId131"/>
    <p:sldLayoutId id="2147483968" r:id="rId132"/>
    <p:sldLayoutId id="2147483969" r:id="rId133"/>
    <p:sldLayoutId id="2147483970" r:id="rId134"/>
    <p:sldLayoutId id="2147483971" r:id="rId135"/>
    <p:sldLayoutId id="2147483972" r:id="rId136"/>
    <p:sldLayoutId id="2147483973" r:id="rId137"/>
    <p:sldLayoutId id="2147483974" r:id="rId138"/>
    <p:sldLayoutId id="2147483975" r:id="rId139"/>
    <p:sldLayoutId id="2147483976" r:id="rId140"/>
    <p:sldLayoutId id="2147483977" r:id="rId141"/>
    <p:sldLayoutId id="2147483978" r:id="rId142"/>
    <p:sldLayoutId id="2147483979" r:id="rId143"/>
    <p:sldLayoutId id="2147483980" r:id="rId144"/>
    <p:sldLayoutId id="2147483981" r:id="rId145"/>
    <p:sldLayoutId id="2147483982" r:id="rId146"/>
    <p:sldLayoutId id="2147483983" r:id="rId147"/>
    <p:sldLayoutId id="2147483984" r:id="rId148"/>
    <p:sldLayoutId id="2147483985" r:id="rId149"/>
    <p:sldLayoutId id="2147483986" r:id="rId150"/>
    <p:sldLayoutId id="2147483987" r:id="rId151"/>
    <p:sldLayoutId id="2147483988" r:id="rId152"/>
    <p:sldLayoutId id="2147483989" r:id="rId153"/>
    <p:sldLayoutId id="2147483990" r:id="rId154"/>
    <p:sldLayoutId id="2147483991" r:id="rId155"/>
    <p:sldLayoutId id="2147483992" r:id="rId156"/>
    <p:sldLayoutId id="2147483993" r:id="rId157"/>
    <p:sldLayoutId id="2147483994" r:id="rId158"/>
    <p:sldLayoutId id="2147483995" r:id="rId159"/>
    <p:sldLayoutId id="2147483996" r:id="rId160"/>
    <p:sldLayoutId id="2147483997" r:id="rId161"/>
    <p:sldLayoutId id="2147483998" r:id="rId162"/>
    <p:sldLayoutId id="2147483999" r:id="rId163"/>
    <p:sldLayoutId id="2147484000" r:id="rId164"/>
    <p:sldLayoutId id="2147484001" r:id="rId165"/>
    <p:sldLayoutId id="2147484002" r:id="rId166"/>
    <p:sldLayoutId id="2147484003" r:id="rId167"/>
    <p:sldLayoutId id="2147484004" r:id="rId168"/>
    <p:sldLayoutId id="2147484005" r:id="rId169"/>
    <p:sldLayoutId id="2147484006" r:id="rId170"/>
    <p:sldLayoutId id="2147484007" r:id="rId171"/>
    <p:sldLayoutId id="2147484008" r:id="rId172"/>
    <p:sldLayoutId id="2147484009" r:id="rId173"/>
    <p:sldLayoutId id="2147484010" r:id="rId174"/>
    <p:sldLayoutId id="2147484011" r:id="rId175"/>
    <p:sldLayoutId id="2147484012" r:id="rId176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9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9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9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380963" y="6286662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827089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  <p:sldLayoutId id="2147484028" r:id="rId15"/>
    <p:sldLayoutId id="2147484029" r:id="rId16"/>
    <p:sldLayoutId id="2147484030" r:id="rId17"/>
    <p:sldLayoutId id="2147484031" r:id="rId18"/>
    <p:sldLayoutId id="2147484032" r:id="rId19"/>
    <p:sldLayoutId id="2147484033" r:id="rId20"/>
    <p:sldLayoutId id="2147484034" r:id="rId21"/>
    <p:sldLayoutId id="2147484035" r:id="rId22"/>
    <p:sldLayoutId id="2147484036" r:id="rId23"/>
    <p:sldLayoutId id="2147484037" r:id="rId24"/>
    <p:sldLayoutId id="2147484038" r:id="rId25"/>
    <p:sldLayoutId id="2147484039" r:id="rId26"/>
    <p:sldLayoutId id="2147484040" r:id="rId27"/>
    <p:sldLayoutId id="2147484041" r:id="rId28"/>
    <p:sldLayoutId id="2147484042" r:id="rId29"/>
    <p:sldLayoutId id="2147484043" r:id="rId30"/>
    <p:sldLayoutId id="2147484044" r:id="rId31"/>
    <p:sldLayoutId id="2147484045" r:id="rId32"/>
    <p:sldLayoutId id="2147484046" r:id="rId33"/>
    <p:sldLayoutId id="2147484047" r:id="rId34"/>
    <p:sldLayoutId id="2147484048" r:id="rId35"/>
    <p:sldLayoutId id="2147484049" r:id="rId36"/>
    <p:sldLayoutId id="2147484050" r:id="rId37"/>
    <p:sldLayoutId id="2147484051" r:id="rId38"/>
    <p:sldLayoutId id="2147484052" r:id="rId39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80963" y="6286622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671672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153420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4750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108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  <p:sldLayoutId id="2147484400" r:id="rId3"/>
    <p:sldLayoutId id="2147484401" r:id="rId4"/>
    <p:sldLayoutId id="2147484402" r:id="rId5"/>
    <p:sldLayoutId id="2147484403" r:id="rId6"/>
    <p:sldLayoutId id="2147484404" r:id="rId7"/>
    <p:sldLayoutId id="2147484405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153420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56718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108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8265509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6900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70251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3665994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7924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3510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770792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8846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27821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0348240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9972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6855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38"/>
          <p:cNvSpPr/>
          <p:nvPr/>
        </p:nvSpPr>
        <p:spPr>
          <a:xfrm>
            <a:off x="0" y="0"/>
            <a:ext cx="12192000" cy="14288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3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2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0" name="Google Shape;300;p38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1" name="Google Shape;301;p3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2" name="Google Shape;302;p3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3" name="Google Shape;303;p3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4" name="Google Shape;304;p38"/>
          <p:cNvPicPr preferRelativeResize="0"/>
          <p:nvPr/>
        </p:nvPicPr>
        <p:blipFill rotWithShape="1">
          <a:blip r:embed="rId24" cstate="print">
            <a:alphaModFix/>
          </a:blip>
          <a:srcRect/>
          <a:stretch/>
        </p:blipFill>
        <p:spPr>
          <a:xfrm>
            <a:off x="380960" y="6286636"/>
            <a:ext cx="2952768" cy="4710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5841272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6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135839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0894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5149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1597946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18158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665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79178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30445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724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0" r:id="rId1"/>
    <p:sldLayoutId id="2147484471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6062850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3966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485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52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52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52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571461" y="6215082"/>
            <a:ext cx="3968747" cy="4507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0929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  <p:sldLayoutId id="2147484490" r:id="rId3"/>
    <p:sldLayoutId id="2147484491" r:id="rId4"/>
    <p:sldLayoutId id="2147484492" r:id="rId5"/>
    <p:sldLayoutId id="2147484493" r:id="rId6"/>
    <p:sldLayoutId id="2147484494" r:id="rId7"/>
    <p:sldLayoutId id="2147484495" r:id="rId8"/>
    <p:sldLayoutId id="2147484496" r:id="rId9"/>
    <p:sldLayoutId id="2147484497" r:id="rId10"/>
    <p:sldLayoutId id="2147484498" r:id="rId11"/>
    <p:sldLayoutId id="2147484499" r:id="rId12"/>
    <p:sldLayoutId id="2147484500" r:id="rId13"/>
    <p:sldLayoutId id="2147484501" r:id="rId14"/>
    <p:sldLayoutId id="2147484502" r:id="rId15"/>
    <p:sldLayoutId id="2147484503" r:id="rId16"/>
    <p:sldLayoutId id="2147484504" r:id="rId17"/>
    <p:sldLayoutId id="2147484505" r:id="rId18"/>
    <p:sldLayoutId id="2147484506" r:id="rId19"/>
    <p:sldLayoutId id="2147484507" r:id="rId20"/>
    <p:sldLayoutId id="2147484508" r:id="rId21"/>
    <p:sldLayoutId id="2147484509" r:id="rId22"/>
    <p:sldLayoutId id="2147484510" r:id="rId23"/>
    <p:sldLayoutId id="2147484511" r:id="rId24"/>
    <p:sldLayoutId id="2147484512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78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775576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4" r:id="rId1"/>
    <p:sldLayoutId id="2147484555" r:id="rId2"/>
    <p:sldLayoutId id="2147484556" r:id="rId3"/>
    <p:sldLayoutId id="2147484557" r:id="rId4"/>
    <p:sldLayoutId id="2147484558" r:id="rId5"/>
    <p:sldLayoutId id="2147484559" r:id="rId6"/>
    <p:sldLayoutId id="2147484560" r:id="rId7"/>
    <p:sldLayoutId id="2147484561" r:id="rId8"/>
    <p:sldLayoutId id="2147484562" r:id="rId9"/>
    <p:sldLayoutId id="2147484563" r:id="rId10"/>
    <p:sldLayoutId id="2147484564" r:id="rId11"/>
    <p:sldLayoutId id="2147484565" r:id="rId12"/>
    <p:sldLayoutId id="2147484566" r:id="rId13"/>
    <p:sldLayoutId id="2147484567" r:id="rId14"/>
    <p:sldLayoutId id="2147484568" r:id="rId15"/>
    <p:sldLayoutId id="2147484569" r:id="rId16"/>
    <p:sldLayoutId id="2147484570" r:id="rId17"/>
    <p:sldLayoutId id="2147484571" r:id="rId18"/>
    <p:sldLayoutId id="2147484572" r:id="rId19"/>
    <p:sldLayoutId id="2147484573" r:id="rId20"/>
    <p:sldLayoutId id="2147484574" r:id="rId21"/>
    <p:sldLayoutId id="2147484575" r:id="rId22"/>
    <p:sldLayoutId id="2147484576" r:id="rId23"/>
    <p:sldLayoutId id="2147484577" r:id="rId24"/>
    <p:sldLayoutId id="2147484578" r:id="rId25"/>
    <p:sldLayoutId id="2147484579" r:id="rId26"/>
    <p:sldLayoutId id="2147484580" r:id="rId27"/>
    <p:sldLayoutId id="2147484581" r:id="rId28"/>
    <p:sldLayoutId id="2147484582" r:id="rId29"/>
    <p:sldLayoutId id="2147484583" r:id="rId30"/>
    <p:sldLayoutId id="2147484584" r:id="rId31"/>
    <p:sldLayoutId id="2147484585" r:id="rId32"/>
    <p:sldLayoutId id="2147484586" r:id="rId33"/>
    <p:sldLayoutId id="2147484587" r:id="rId34"/>
    <p:sldLayoutId id="2147484588" r:id="rId35"/>
    <p:sldLayoutId id="2147484589" r:id="rId36"/>
    <p:sldLayoutId id="2147484590" r:id="rId37"/>
    <p:sldLayoutId id="2147484591" r:id="rId38"/>
    <p:sldLayoutId id="2147484592" r:id="rId39"/>
    <p:sldLayoutId id="2147484593" r:id="rId40"/>
    <p:sldLayoutId id="2147484594" r:id="rId41"/>
    <p:sldLayoutId id="2147484595" r:id="rId42"/>
    <p:sldLayoutId id="2147484596" r:id="rId43"/>
    <p:sldLayoutId id="2147484597" r:id="rId44"/>
    <p:sldLayoutId id="2147484598" r:id="rId45"/>
    <p:sldLayoutId id="2147484599" r:id="rId46"/>
    <p:sldLayoutId id="2147484600" r:id="rId47"/>
    <p:sldLayoutId id="2147484601" r:id="rId48"/>
    <p:sldLayoutId id="2147484602" r:id="rId49"/>
    <p:sldLayoutId id="2147484603" r:id="rId50"/>
    <p:sldLayoutId id="2147484604" r:id="rId51"/>
    <p:sldLayoutId id="2147484605" r:id="rId52"/>
    <p:sldLayoutId id="2147484606" r:id="rId53"/>
    <p:sldLayoutId id="2147484607" r:id="rId54"/>
    <p:sldLayoutId id="2147484608" r:id="rId55"/>
    <p:sldLayoutId id="2147484609" r:id="rId56"/>
    <p:sldLayoutId id="2147484610" r:id="rId57"/>
    <p:sldLayoutId id="2147484611" r:id="rId58"/>
    <p:sldLayoutId id="2147484612" r:id="rId59"/>
    <p:sldLayoutId id="2147484613" r:id="rId60"/>
    <p:sldLayoutId id="2147484614" r:id="rId61"/>
    <p:sldLayoutId id="2147484615" r:id="rId62"/>
    <p:sldLayoutId id="2147484616" r:id="rId63"/>
    <p:sldLayoutId id="2147484617" r:id="rId64"/>
    <p:sldLayoutId id="2147484618" r:id="rId65"/>
    <p:sldLayoutId id="2147484619" r:id="rId66"/>
    <p:sldLayoutId id="2147484620" r:id="rId67"/>
    <p:sldLayoutId id="2147484621" r:id="rId68"/>
    <p:sldLayoutId id="2147484622" r:id="rId69"/>
    <p:sldLayoutId id="2147484623" r:id="rId70"/>
    <p:sldLayoutId id="2147484624" r:id="rId71"/>
    <p:sldLayoutId id="2147484625" r:id="rId72"/>
    <p:sldLayoutId id="2147484626" r:id="rId73"/>
    <p:sldLayoutId id="2147484627" r:id="rId74"/>
    <p:sldLayoutId id="2147484628" r:id="rId75"/>
    <p:sldLayoutId id="2147484629" r:id="rId76"/>
    <p:sldLayoutId id="2147484630" r:id="rId77"/>
    <p:sldLayoutId id="2147484631" r:id="rId78"/>
    <p:sldLayoutId id="2147484632" r:id="rId79"/>
    <p:sldLayoutId id="2147484633" r:id="rId80"/>
    <p:sldLayoutId id="2147484634" r:id="rId81"/>
    <p:sldLayoutId id="2147484635" r:id="rId82"/>
    <p:sldLayoutId id="2147484636" r:id="rId83"/>
    <p:sldLayoutId id="2147484637" r:id="rId84"/>
    <p:sldLayoutId id="2147484638" r:id="rId85"/>
    <p:sldLayoutId id="2147484639" r:id="rId86"/>
    <p:sldLayoutId id="2147484640" r:id="rId87"/>
    <p:sldLayoutId id="2147484641" r:id="rId88"/>
    <p:sldLayoutId id="2147484642" r:id="rId89"/>
    <p:sldLayoutId id="2147484643" r:id="rId90"/>
    <p:sldLayoutId id="2147484644" r:id="rId91"/>
    <p:sldLayoutId id="2147484645" r:id="rId92"/>
    <p:sldLayoutId id="2147484646" r:id="rId93"/>
    <p:sldLayoutId id="2147484647" r:id="rId94"/>
    <p:sldLayoutId id="2147484648" r:id="rId95"/>
    <p:sldLayoutId id="2147484649" r:id="rId96"/>
    <p:sldLayoutId id="2147484650" r:id="rId97"/>
    <p:sldLayoutId id="2147484651" r:id="rId98"/>
    <p:sldLayoutId id="2147484652" r:id="rId99"/>
    <p:sldLayoutId id="2147484653" r:id="rId100"/>
    <p:sldLayoutId id="2147484654" r:id="rId101"/>
    <p:sldLayoutId id="2147484655" r:id="rId102"/>
    <p:sldLayoutId id="2147484656" r:id="rId103"/>
    <p:sldLayoutId id="2147484657" r:id="rId104"/>
    <p:sldLayoutId id="2147484658" r:id="rId105"/>
    <p:sldLayoutId id="2147484659" r:id="rId106"/>
    <p:sldLayoutId id="2147484660" r:id="rId107"/>
    <p:sldLayoutId id="2147484661" r:id="rId108"/>
    <p:sldLayoutId id="2147484662" r:id="rId109"/>
    <p:sldLayoutId id="2147484663" r:id="rId110"/>
    <p:sldLayoutId id="2147484664" r:id="rId111"/>
    <p:sldLayoutId id="2147484665" r:id="rId112"/>
    <p:sldLayoutId id="2147484666" r:id="rId113"/>
    <p:sldLayoutId id="2147484667" r:id="rId114"/>
    <p:sldLayoutId id="2147484668" r:id="rId115"/>
    <p:sldLayoutId id="2147484669" r:id="rId116"/>
    <p:sldLayoutId id="2147484670" r:id="rId117"/>
    <p:sldLayoutId id="2147484671" r:id="rId118"/>
    <p:sldLayoutId id="2147484672" r:id="rId119"/>
    <p:sldLayoutId id="2147484673" r:id="rId120"/>
    <p:sldLayoutId id="2147484674" r:id="rId121"/>
    <p:sldLayoutId id="2147484675" r:id="rId122"/>
    <p:sldLayoutId id="2147484676" r:id="rId123"/>
    <p:sldLayoutId id="2147484677" r:id="rId124"/>
    <p:sldLayoutId id="2147484678" r:id="rId125"/>
    <p:sldLayoutId id="2147484679" r:id="rId126"/>
    <p:sldLayoutId id="2147484680" r:id="rId127"/>
    <p:sldLayoutId id="2147484681" r:id="rId128"/>
    <p:sldLayoutId id="2147484682" r:id="rId129"/>
    <p:sldLayoutId id="2147484683" r:id="rId130"/>
    <p:sldLayoutId id="2147484684" r:id="rId131"/>
    <p:sldLayoutId id="2147484685" r:id="rId132"/>
    <p:sldLayoutId id="2147484686" r:id="rId133"/>
    <p:sldLayoutId id="2147484687" r:id="rId134"/>
    <p:sldLayoutId id="2147484688" r:id="rId135"/>
    <p:sldLayoutId id="2147484689" r:id="rId136"/>
    <p:sldLayoutId id="2147484690" r:id="rId137"/>
    <p:sldLayoutId id="2147484691" r:id="rId138"/>
    <p:sldLayoutId id="2147484692" r:id="rId139"/>
    <p:sldLayoutId id="2147484693" r:id="rId140"/>
    <p:sldLayoutId id="2147484694" r:id="rId141"/>
    <p:sldLayoutId id="2147484695" r:id="rId142"/>
    <p:sldLayoutId id="2147484696" r:id="rId143"/>
    <p:sldLayoutId id="2147484697" r:id="rId144"/>
    <p:sldLayoutId id="2147484698" r:id="rId145"/>
    <p:sldLayoutId id="2147484699" r:id="rId146"/>
    <p:sldLayoutId id="2147484700" r:id="rId147"/>
    <p:sldLayoutId id="2147484701" r:id="rId148"/>
    <p:sldLayoutId id="2147484702" r:id="rId149"/>
    <p:sldLayoutId id="2147484703" r:id="rId150"/>
    <p:sldLayoutId id="2147484704" r:id="rId151"/>
    <p:sldLayoutId id="2147484705" r:id="rId152"/>
    <p:sldLayoutId id="2147484706" r:id="rId153"/>
    <p:sldLayoutId id="2147484707" r:id="rId154"/>
    <p:sldLayoutId id="2147484708" r:id="rId155"/>
    <p:sldLayoutId id="2147484709" r:id="rId156"/>
    <p:sldLayoutId id="2147484710" r:id="rId157"/>
    <p:sldLayoutId id="2147484711" r:id="rId158"/>
    <p:sldLayoutId id="2147484712" r:id="rId159"/>
    <p:sldLayoutId id="2147484713" r:id="rId160"/>
    <p:sldLayoutId id="2147484714" r:id="rId161"/>
    <p:sldLayoutId id="2147484715" r:id="rId162"/>
    <p:sldLayoutId id="2147484716" r:id="rId163"/>
    <p:sldLayoutId id="2147484717" r:id="rId164"/>
    <p:sldLayoutId id="2147484718" r:id="rId165"/>
    <p:sldLayoutId id="2147484719" r:id="rId166"/>
    <p:sldLayoutId id="2147484720" r:id="rId167"/>
    <p:sldLayoutId id="2147484721" r:id="rId168"/>
    <p:sldLayoutId id="2147484722" r:id="rId169"/>
    <p:sldLayoutId id="2147484723" r:id="rId170"/>
    <p:sldLayoutId id="2147484724" r:id="rId171"/>
    <p:sldLayoutId id="2147484725" r:id="rId172"/>
    <p:sldLayoutId id="2147484726" r:id="rId173"/>
    <p:sldLayoutId id="2147484727" r:id="rId174"/>
    <p:sldLayoutId id="2147484728" r:id="rId175"/>
    <p:sldLayoutId id="2147484729" r:id="rId176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299884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1" r:id="rId1"/>
    <p:sldLayoutId id="2147484732" r:id="rId2"/>
    <p:sldLayoutId id="2147484733" r:id="rId3"/>
    <p:sldLayoutId id="2147484734" r:id="rId4"/>
    <p:sldLayoutId id="2147484735" r:id="rId5"/>
    <p:sldLayoutId id="2147484736" r:id="rId6"/>
    <p:sldLayoutId id="2147484737" r:id="rId7"/>
    <p:sldLayoutId id="2147484738" r:id="rId8"/>
    <p:sldLayoutId id="2147484739" r:id="rId9"/>
    <p:sldLayoutId id="2147484740" r:id="rId10"/>
    <p:sldLayoutId id="2147484741" r:id="rId11"/>
    <p:sldLayoutId id="2147484742" r:id="rId12"/>
    <p:sldLayoutId id="2147484743" r:id="rId13"/>
    <p:sldLayoutId id="2147484744" r:id="rId14"/>
    <p:sldLayoutId id="2147484745" r:id="rId15"/>
    <p:sldLayoutId id="2147484746" r:id="rId16"/>
    <p:sldLayoutId id="2147484747" r:id="rId17"/>
    <p:sldLayoutId id="2147484748" r:id="rId18"/>
    <p:sldLayoutId id="2147484749" r:id="rId19"/>
    <p:sldLayoutId id="2147484750" r:id="rId20"/>
    <p:sldLayoutId id="2147484751" r:id="rId21"/>
    <p:sldLayoutId id="2147484752" r:id="rId22"/>
    <p:sldLayoutId id="2147484753" r:id="rId23"/>
    <p:sldLayoutId id="2147484754" r:id="rId24"/>
    <p:sldLayoutId id="2147484755" r:id="rId25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426516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  <p:sldLayoutId id="2147484768" r:id="rId12"/>
    <p:sldLayoutId id="2147484769" r:id="rId13"/>
    <p:sldLayoutId id="2147484770" r:id="rId14"/>
    <p:sldLayoutId id="2147484771" r:id="rId15"/>
    <p:sldLayoutId id="2147484772" r:id="rId16"/>
    <p:sldLayoutId id="2147484773" r:id="rId17"/>
    <p:sldLayoutId id="2147484774" r:id="rId18"/>
    <p:sldLayoutId id="2147484775" r:id="rId19"/>
    <p:sldLayoutId id="2147484776" r:id="rId20"/>
    <p:sldLayoutId id="2147484777" r:id="rId21"/>
    <p:sldLayoutId id="2147484778" r:id="rId22"/>
    <p:sldLayoutId id="2147484779" r:id="rId23"/>
    <p:sldLayoutId id="2147484780" r:id="rId24"/>
    <p:sldLayoutId id="2147484781" r:id="rId25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433868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3" r:id="rId1"/>
    <p:sldLayoutId id="2147484784" r:id="rId2"/>
    <p:sldLayoutId id="2147484785" r:id="rId3"/>
    <p:sldLayoutId id="2147484786" r:id="rId4"/>
    <p:sldLayoutId id="2147484787" r:id="rId5"/>
    <p:sldLayoutId id="2147484788" r:id="rId6"/>
    <p:sldLayoutId id="2147484789" r:id="rId7"/>
    <p:sldLayoutId id="2147484790" r:id="rId8"/>
    <p:sldLayoutId id="2147484791" r:id="rId9"/>
    <p:sldLayoutId id="2147484792" r:id="rId10"/>
    <p:sldLayoutId id="2147484793" r:id="rId11"/>
    <p:sldLayoutId id="2147484794" r:id="rId12"/>
    <p:sldLayoutId id="2147484795" r:id="rId13"/>
    <p:sldLayoutId id="2147484796" r:id="rId14"/>
    <p:sldLayoutId id="2147484797" r:id="rId15"/>
    <p:sldLayoutId id="2147484798" r:id="rId16"/>
    <p:sldLayoutId id="2147484799" r:id="rId17"/>
    <p:sldLayoutId id="2147484800" r:id="rId18"/>
    <p:sldLayoutId id="2147484801" r:id="rId19"/>
    <p:sldLayoutId id="2147484802" r:id="rId20"/>
    <p:sldLayoutId id="2147484803" r:id="rId21"/>
    <p:sldLayoutId id="2147484804" r:id="rId22"/>
    <p:sldLayoutId id="2147484805" r:id="rId23"/>
    <p:sldLayoutId id="2147484806" r:id="rId24"/>
    <p:sldLayoutId id="2147484807" r:id="rId25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82346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  <p:sldLayoutId id="2147484814" r:id="rId6"/>
    <p:sldLayoutId id="2147484815" r:id="rId7"/>
    <p:sldLayoutId id="2147484816" r:id="rId8"/>
    <p:sldLayoutId id="2147484817" r:id="rId9"/>
    <p:sldLayoutId id="2147484818" r:id="rId10"/>
    <p:sldLayoutId id="2147484819" r:id="rId11"/>
    <p:sldLayoutId id="2147484820" r:id="rId12"/>
    <p:sldLayoutId id="2147484821" r:id="rId13"/>
    <p:sldLayoutId id="2147484822" r:id="rId14"/>
    <p:sldLayoutId id="2147484823" r:id="rId15"/>
    <p:sldLayoutId id="2147484824" r:id="rId16"/>
    <p:sldLayoutId id="2147484825" r:id="rId17"/>
    <p:sldLayoutId id="2147484826" r:id="rId18"/>
    <p:sldLayoutId id="2147484827" r:id="rId19"/>
    <p:sldLayoutId id="2147484828" r:id="rId20"/>
    <p:sldLayoutId id="2147484829" r:id="rId21"/>
    <p:sldLayoutId id="2147484830" r:id="rId22"/>
    <p:sldLayoutId id="2147484831" r:id="rId23"/>
    <p:sldLayoutId id="2147484832" r:id="rId24"/>
    <p:sldLayoutId id="2147484833" r:id="rId25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9442495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64567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00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07880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49895" name="think-cell Slide" r:id="rId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075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8" r:id="rId1"/>
    <p:sldLayoutId id="2147484889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4767138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53991" name="think-cell Slide" r:id="rId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3951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2" r:id="rId1"/>
    <p:sldLayoutId id="2147484893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4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47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A96496-71A8-4D05-9D6F-7F522810ADBD}" type="slidenum">
              <a:rPr lang="ru-RU" altLang="ru-RU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80086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5" r:id="rId1"/>
    <p:sldLayoutId id="2147484896" r:id="rId2"/>
    <p:sldLayoutId id="2147484897" r:id="rId3"/>
    <p:sldLayoutId id="2147484898" r:id="rId4"/>
    <p:sldLayoutId id="2147484899" r:id="rId5"/>
    <p:sldLayoutId id="2147484900" r:id="rId6"/>
    <p:sldLayoutId id="2147484901" r:id="rId7"/>
    <p:sldLayoutId id="2147484902" r:id="rId8"/>
    <p:sldLayoutId id="2147484903" r:id="rId9"/>
    <p:sldLayoutId id="2147484904" r:id="rId10"/>
    <p:sldLayoutId id="214748490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2" y="6237375"/>
            <a:ext cx="400050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9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3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B691104-2043-43E1-9C7D-AB81F0E2013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3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37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FE95514-E641-4C56-AC0D-60CCB3D8D534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251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4" r:id="rId8"/>
    <p:sldLayoutId id="2147484965" r:id="rId9"/>
    <p:sldLayoutId id="2147484966" r:id="rId10"/>
    <p:sldLayoutId id="2147484967" r:id="rId11"/>
    <p:sldLayoutId id="2147484968" r:id="rId12"/>
    <p:sldLayoutId id="2147484969" r:id="rId13"/>
    <p:sldLayoutId id="2147484970" r:id="rId14"/>
    <p:sldLayoutId id="2147484971" r:id="rId15"/>
    <p:sldLayoutId id="2147484972" r:id="rId16"/>
    <p:sldLayoutId id="2147484973" r:id="rId17"/>
    <p:sldLayoutId id="2147484974" r:id="rId18"/>
    <p:sldLayoutId id="2147484975" r:id="rId19"/>
    <p:sldLayoutId id="2147484976" r:id="rId20"/>
    <p:sldLayoutId id="2147484977" r:id="rId21"/>
    <p:sldLayoutId id="2147484978" r:id="rId22"/>
    <p:sldLayoutId id="2147484979" r:id="rId23"/>
    <p:sldLayoutId id="2147484980" r:id="rId2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075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3076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9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86A4F369-3E02-4EBE-8A16-C4E764D692A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9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9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79797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210149-2753-405D-BBB2-93E72647D0DF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  <p:pic>
        <p:nvPicPr>
          <p:cNvPr id="3080" name="Picture 6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12" y="6286500"/>
            <a:ext cx="2952751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14390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2" r:id="rId1"/>
    <p:sldLayoutId id="2147484983" r:id="rId2"/>
    <p:sldLayoutId id="2147484984" r:id="rId3"/>
    <p:sldLayoutId id="2147484985" r:id="rId4"/>
    <p:sldLayoutId id="2147484986" r:id="rId5"/>
    <p:sldLayoutId id="2147484987" r:id="rId6"/>
    <p:sldLayoutId id="2147484988" r:id="rId7"/>
    <p:sldLayoutId id="2147484989" r:id="rId8"/>
    <p:sldLayoutId id="2147484990" r:id="rId9"/>
    <p:sldLayoutId id="2147484991" r:id="rId10"/>
    <p:sldLayoutId id="2147484992" r:id="rId11"/>
    <p:sldLayoutId id="2147484993" r:id="rId12"/>
    <p:sldLayoutId id="2147484994" r:id="rId13"/>
    <p:sldLayoutId id="2147484995" r:id="rId14"/>
    <p:sldLayoutId id="2147484996" r:id="rId15"/>
    <p:sldLayoutId id="2147484997" r:id="rId16"/>
    <p:sldLayoutId id="2147484998" r:id="rId17"/>
    <p:sldLayoutId id="2147484999" r:id="rId18"/>
    <p:sldLayoutId id="2147485000" r:id="rId19"/>
    <p:sldLayoutId id="2147485001" r:id="rId20"/>
    <p:sldLayoutId id="2147485002" r:id="rId21"/>
    <p:sldLayoutId id="2147485003" r:id="rId22"/>
    <p:sldLayoutId id="2147485004" r:id="rId23"/>
    <p:sldLayoutId id="2147485005" r:id="rId24"/>
    <p:sldLayoutId id="2147485006" r:id="rId25"/>
  </p:sldLayoutIdLst>
  <p:timing>
    <p:tnLst>
      <p:par>
        <p:cTn id="1" dur="indefinite" restart="never" nodeType="tmRoot"/>
      </p:par>
    </p:tnLst>
  </p:timing>
  <p:txStyles>
    <p:titleStyle>
      <a:lvl1pPr algn="l" defTabSz="912813" rtl="0" fontAlgn="base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79388" indent="-179388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099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100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3C11C43F-6AA8-4EC6-A6AC-2F346E8554A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79797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5441C12-4518-422B-8FD9-C1F951747E9C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  <p:pic>
        <p:nvPicPr>
          <p:cNvPr id="4104" name="Picture 6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6286500"/>
            <a:ext cx="2952751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404132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8" r:id="rId1"/>
    <p:sldLayoutId id="2147485009" r:id="rId2"/>
    <p:sldLayoutId id="2147485010" r:id="rId3"/>
    <p:sldLayoutId id="2147485011" r:id="rId4"/>
    <p:sldLayoutId id="2147485012" r:id="rId5"/>
    <p:sldLayoutId id="2147485013" r:id="rId6"/>
    <p:sldLayoutId id="2147485014" r:id="rId7"/>
    <p:sldLayoutId id="2147485015" r:id="rId8"/>
    <p:sldLayoutId id="2147485016" r:id="rId9"/>
    <p:sldLayoutId id="2147485017" r:id="rId10"/>
    <p:sldLayoutId id="2147485018" r:id="rId11"/>
    <p:sldLayoutId id="2147485019" r:id="rId12"/>
    <p:sldLayoutId id="2147485020" r:id="rId13"/>
    <p:sldLayoutId id="2147485021" r:id="rId14"/>
    <p:sldLayoutId id="2147485022" r:id="rId15"/>
    <p:sldLayoutId id="2147485023" r:id="rId16"/>
    <p:sldLayoutId id="2147485024" r:id="rId17"/>
    <p:sldLayoutId id="2147485025" r:id="rId18"/>
    <p:sldLayoutId id="2147485026" r:id="rId19"/>
    <p:sldLayoutId id="2147485027" r:id="rId20"/>
    <p:sldLayoutId id="2147485028" r:id="rId21"/>
    <p:sldLayoutId id="2147485029" r:id="rId22"/>
    <p:sldLayoutId id="2147485030" r:id="rId23"/>
    <p:sldLayoutId id="2147485031" r:id="rId24"/>
    <p:sldLayoutId id="2147485032" r:id="rId25"/>
  </p:sldLayoutIdLst>
  <p:timing>
    <p:tnLst>
      <p:par>
        <p:cTn id="1" dur="indefinite" restart="never" nodeType="tmRoot"/>
      </p:par>
    </p:tnLst>
  </p:timing>
  <p:txStyles>
    <p:titleStyle>
      <a:lvl1pPr algn="l" defTabSz="912813" rtl="0" fontAlgn="base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79388" indent="-179388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5573292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73783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4839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7389294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82999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503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8068051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92215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7104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5625541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0143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3552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4934016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12695" name="think-cell Slide" r:id="rId11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0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7676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632514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2191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575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image" Target="../media/image36.jpeg"/><Relationship Id="rId2" Type="http://schemas.openxmlformats.org/officeDocument/2006/relationships/tags" Target="../tags/tag382.xml"/><Relationship Id="rId16" Type="http://schemas.openxmlformats.org/officeDocument/2006/relationships/image" Target="../media/image35.png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8.png"/><Relationship Id="rId11" Type="http://schemas.openxmlformats.org/officeDocument/2006/relationships/image" Target="../media/image30.jpeg"/><Relationship Id="rId5" Type="http://schemas.openxmlformats.org/officeDocument/2006/relationships/image" Target="../media/image3.emf"/><Relationship Id="rId15" Type="http://schemas.openxmlformats.org/officeDocument/2006/relationships/image" Target="../media/image34.png"/><Relationship Id="rId10" Type="http://schemas.openxmlformats.org/officeDocument/2006/relationships/image" Target="../media/image29.jpeg"/><Relationship Id="rId19" Type="http://schemas.openxmlformats.org/officeDocument/2006/relationships/image" Target="../media/image38.png"/><Relationship Id="rId4" Type="http://schemas.openxmlformats.org/officeDocument/2006/relationships/oleObject" Target="../embeddings/oleObject176.bin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76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179.vml"/><Relationship Id="rId5" Type="http://schemas.openxmlformats.org/officeDocument/2006/relationships/oleObject" Target="../embeddings/oleObject179.bin"/><Relationship Id="rId4" Type="http://schemas.openxmlformats.org/officeDocument/2006/relationships/notesSlide" Target="../notesSlides/notesSlide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hyperlink" Target="https://rosuchebnik.ru/kompleks/umk-liniya-umk-mirkina-ekologiya-10-11/" TargetMode="External"/><Relationship Id="rId1" Type="http://schemas.openxmlformats.org/officeDocument/2006/relationships/slideLayout" Target="../slideLayouts/slideLayout444.xml"/><Relationship Id="rId4" Type="http://schemas.openxmlformats.org/officeDocument/2006/relationships/image" Target="../media/image10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hyperlink" Target="https://rosuchebnik.ru/product/estestvoznanie-10-klass-uchebnik-424685/" TargetMode="External"/><Relationship Id="rId1" Type="http://schemas.openxmlformats.org/officeDocument/2006/relationships/slideLayout" Target="../slideLayouts/slideLayout419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rosuchebnik.ru/product/estestvoznanie-bazovyy-uroven-11-klass-uchebnik-400536/" TargetMode="External"/><Relationship Id="rId3" Type="http://schemas.openxmlformats.org/officeDocument/2006/relationships/image" Target="../media/image101.jpeg"/><Relationship Id="rId7" Type="http://schemas.openxmlformats.org/officeDocument/2006/relationships/image" Target="../media/image106.jpeg"/><Relationship Id="rId2" Type="http://schemas.openxmlformats.org/officeDocument/2006/relationships/hyperlink" Target="https://rosuchebnik.ru/product/estestvoznanie-10-klass-uchebnik-424685/" TargetMode="External"/><Relationship Id="rId1" Type="http://schemas.openxmlformats.org/officeDocument/2006/relationships/slideLayout" Target="../slideLayouts/slideLayout444.xml"/><Relationship Id="rId6" Type="http://schemas.openxmlformats.org/officeDocument/2006/relationships/hyperlink" Target="https://rosuchebnik.ru/product/estestvoznanie-bazovyy-uroven-10-klass-uchebnik-400535/" TargetMode="External"/><Relationship Id="rId5" Type="http://schemas.openxmlformats.org/officeDocument/2006/relationships/image" Target="../media/image105.jpeg"/><Relationship Id="rId4" Type="http://schemas.openxmlformats.org/officeDocument/2006/relationships/hyperlink" Target="https://rosuchebnik.ru/product/estestvoznanie-11-klass-uchebnik/" TargetMode="External"/><Relationship Id="rId9" Type="http://schemas.openxmlformats.org/officeDocument/2006/relationships/image" Target="../media/image10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hyperlink" Target="https://rosuchebnik.ru/product/biologiya-10-11-klassy-rabochie-programmy-408080/" TargetMode="External"/><Relationship Id="rId1" Type="http://schemas.openxmlformats.org/officeDocument/2006/relationships/slideLayout" Target="../slideLayouts/slideLayout444.xml"/><Relationship Id="rId5" Type="http://schemas.openxmlformats.org/officeDocument/2006/relationships/image" Target="../media/image109.jpeg"/><Relationship Id="rId4" Type="http://schemas.openxmlformats.org/officeDocument/2006/relationships/hyperlink" Target="https://rosuchebnik.ru/product/5-11kl-suhova-t-s-isakova-s-n-biologiya-programmy-s-cd-diskom/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emf"/><Relationship Id="rId2" Type="http://schemas.openxmlformats.org/officeDocument/2006/relationships/image" Target="../media/image110.emf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11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emf"/><Relationship Id="rId2" Type="http://schemas.openxmlformats.org/officeDocument/2006/relationships/image" Target="../media/image113.emf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11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emf"/><Relationship Id="rId2" Type="http://schemas.openxmlformats.org/officeDocument/2006/relationships/image" Target="../media/image116.emf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20.emf"/><Relationship Id="rId5" Type="http://schemas.openxmlformats.org/officeDocument/2006/relationships/image" Target="../media/image119.emf"/><Relationship Id="rId4" Type="http://schemas.openxmlformats.org/officeDocument/2006/relationships/image" Target="../media/image118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22.emf"/><Relationship Id="rId7" Type="http://schemas.openxmlformats.org/officeDocument/2006/relationships/image" Target="../media/image126.png"/><Relationship Id="rId2" Type="http://schemas.openxmlformats.org/officeDocument/2006/relationships/image" Target="../media/image121.emf"/><Relationship Id="rId1" Type="http://schemas.openxmlformats.org/officeDocument/2006/relationships/slideLayout" Target="../slideLayouts/slideLayout315.xml"/><Relationship Id="rId6" Type="http://schemas.openxmlformats.org/officeDocument/2006/relationships/image" Target="../media/image125.emf"/><Relationship Id="rId11" Type="http://schemas.openxmlformats.org/officeDocument/2006/relationships/image" Target="../media/image130.png"/><Relationship Id="rId5" Type="http://schemas.openxmlformats.org/officeDocument/2006/relationships/image" Target="../media/image124.emf"/><Relationship Id="rId10" Type="http://schemas.openxmlformats.org/officeDocument/2006/relationships/image" Target="../media/image129.png"/><Relationship Id="rId4" Type="http://schemas.openxmlformats.org/officeDocument/2006/relationships/image" Target="../media/image123.emf"/><Relationship Id="rId9" Type="http://schemas.openxmlformats.org/officeDocument/2006/relationships/image" Target="../media/image12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132.emf"/><Relationship Id="rId4" Type="http://schemas.openxmlformats.org/officeDocument/2006/relationships/oleObject" Target="../embeddings/oleObject18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emf"/><Relationship Id="rId3" Type="http://schemas.openxmlformats.org/officeDocument/2006/relationships/tags" Target="../tags/tag388.xml"/><Relationship Id="rId7" Type="http://schemas.openxmlformats.org/officeDocument/2006/relationships/image" Target="../media/image134.emf"/><Relationship Id="rId2" Type="http://schemas.openxmlformats.org/officeDocument/2006/relationships/tags" Target="../tags/tag387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33.png"/><Relationship Id="rId5" Type="http://schemas.openxmlformats.org/officeDocument/2006/relationships/oleObject" Target="../embeddings/oleObject181.bin"/><Relationship Id="rId10" Type="http://schemas.openxmlformats.org/officeDocument/2006/relationships/hyperlink" Target="https://lecta.rosuchebnik.ru/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36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emf"/><Relationship Id="rId12" Type="http://schemas.openxmlformats.org/officeDocument/2006/relationships/image" Target="../media/image141.emf"/><Relationship Id="rId2" Type="http://schemas.openxmlformats.org/officeDocument/2006/relationships/tags" Target="../tags/tag389.xml"/><Relationship Id="rId1" Type="http://schemas.openxmlformats.org/officeDocument/2006/relationships/vmlDrawing" Target="../drawings/vmlDrawing182.vml"/><Relationship Id="rId6" Type="http://schemas.openxmlformats.org/officeDocument/2006/relationships/hyperlink" Target="https://lecta.rosuchebnik.ru/" TargetMode="External"/><Relationship Id="rId11" Type="http://schemas.openxmlformats.org/officeDocument/2006/relationships/image" Target="../media/image140.emf"/><Relationship Id="rId5" Type="http://schemas.openxmlformats.org/officeDocument/2006/relationships/image" Target="../media/image133.png"/><Relationship Id="rId10" Type="http://schemas.openxmlformats.org/officeDocument/2006/relationships/image" Target="../media/image132.emf"/><Relationship Id="rId4" Type="http://schemas.openxmlformats.org/officeDocument/2006/relationships/oleObject" Target="../embeddings/oleObject182.bin"/><Relationship Id="rId9" Type="http://schemas.openxmlformats.org/officeDocument/2006/relationships/image" Target="../media/image139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lecta.rosuchebnik.ru/" TargetMode="External"/><Relationship Id="rId2" Type="http://schemas.openxmlformats.org/officeDocument/2006/relationships/tags" Target="../tags/tag390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44.png"/><Relationship Id="rId5" Type="http://schemas.openxmlformats.org/officeDocument/2006/relationships/oleObject" Target="../embeddings/oleObject183.bin"/><Relationship Id="rId4" Type="http://schemas.openxmlformats.org/officeDocument/2006/relationships/image" Target="../media/image143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7.png"/><Relationship Id="rId2" Type="http://schemas.openxmlformats.org/officeDocument/2006/relationships/tags" Target="../tags/tag391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oleObject" Target="../embeddings/oleObject184.bin"/><Relationship Id="rId9" Type="http://schemas.openxmlformats.org/officeDocument/2006/relationships/image" Target="../media/image14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://book24.ru/" TargetMode="External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85.bin"/><Relationship Id="rId7" Type="http://schemas.openxmlformats.org/officeDocument/2006/relationships/image" Target="../media/image153.png"/><Relationship Id="rId12" Type="http://schemas.openxmlformats.org/officeDocument/2006/relationships/hyperlink" Target="mailto:info@rosuchebnik.ru" TargetMode="Externa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52.png"/><Relationship Id="rId11" Type="http://schemas.openxmlformats.org/officeDocument/2006/relationships/image" Target="../media/image10.png"/><Relationship Id="rId5" Type="http://schemas.openxmlformats.org/officeDocument/2006/relationships/image" Target="../media/image151.png"/><Relationship Id="rId10" Type="http://schemas.openxmlformats.org/officeDocument/2006/relationships/image" Target="../media/image155.png"/><Relationship Id="rId4" Type="http://schemas.openxmlformats.org/officeDocument/2006/relationships/image" Target="../media/image150.png"/><Relationship Id="rId9" Type="http://schemas.openxmlformats.org/officeDocument/2006/relationships/image" Target="../media/image154.tiff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image" Target="../media/image157.png"/><Relationship Id="rId18" Type="http://schemas.openxmlformats.org/officeDocument/2006/relationships/image" Target="../media/image162.jpeg"/><Relationship Id="rId3" Type="http://schemas.openxmlformats.org/officeDocument/2006/relationships/tags" Target="../tags/tag394.xml"/><Relationship Id="rId21" Type="http://schemas.openxmlformats.org/officeDocument/2006/relationships/image" Target="../media/image165.png"/><Relationship Id="rId7" Type="http://schemas.openxmlformats.org/officeDocument/2006/relationships/tags" Target="../tags/tag398.xml"/><Relationship Id="rId12" Type="http://schemas.openxmlformats.org/officeDocument/2006/relationships/image" Target="../media/image156.png"/><Relationship Id="rId17" Type="http://schemas.openxmlformats.org/officeDocument/2006/relationships/image" Target="../media/image161.png"/><Relationship Id="rId2" Type="http://schemas.openxmlformats.org/officeDocument/2006/relationships/tags" Target="../tags/tag393.xml"/><Relationship Id="rId16" Type="http://schemas.openxmlformats.org/officeDocument/2006/relationships/image" Target="../media/image160.jpeg"/><Relationship Id="rId20" Type="http://schemas.openxmlformats.org/officeDocument/2006/relationships/image" Target="../media/image164.jpeg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11" Type="http://schemas.openxmlformats.org/officeDocument/2006/relationships/slideLayout" Target="../slideLayouts/slideLayout100.xml"/><Relationship Id="rId5" Type="http://schemas.openxmlformats.org/officeDocument/2006/relationships/tags" Target="../tags/tag396.xml"/><Relationship Id="rId15" Type="http://schemas.openxmlformats.org/officeDocument/2006/relationships/image" Target="../media/image159.jpeg"/><Relationship Id="rId23" Type="http://schemas.openxmlformats.org/officeDocument/2006/relationships/image" Target="../media/image167.jpeg"/><Relationship Id="rId10" Type="http://schemas.openxmlformats.org/officeDocument/2006/relationships/tags" Target="../tags/tag401.xml"/><Relationship Id="rId19" Type="http://schemas.openxmlformats.org/officeDocument/2006/relationships/image" Target="../media/image163.jpeg"/><Relationship Id="rId4" Type="http://schemas.openxmlformats.org/officeDocument/2006/relationships/tags" Target="../tags/tag395.xml"/><Relationship Id="rId9" Type="http://schemas.openxmlformats.org/officeDocument/2006/relationships/tags" Target="../tags/tag400.xml"/><Relationship Id="rId14" Type="http://schemas.openxmlformats.org/officeDocument/2006/relationships/image" Target="../media/image158.jpeg"/><Relationship Id="rId22" Type="http://schemas.openxmlformats.org/officeDocument/2006/relationships/image" Target="../media/image16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44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jpeg"/><Relationship Id="rId13" Type="http://schemas.openxmlformats.org/officeDocument/2006/relationships/image" Target="../media/image176.jpeg"/><Relationship Id="rId3" Type="http://schemas.openxmlformats.org/officeDocument/2006/relationships/image" Target="../media/image169.png"/><Relationship Id="rId7" Type="http://schemas.openxmlformats.org/officeDocument/2006/relationships/image" Target="../media/image172.jpeg"/><Relationship Id="rId12" Type="http://schemas.openxmlformats.org/officeDocument/2006/relationships/image" Target="../media/image175.jpeg"/><Relationship Id="rId2" Type="http://schemas.openxmlformats.org/officeDocument/2006/relationships/image" Target="../media/image168.jpeg"/><Relationship Id="rId1" Type="http://schemas.openxmlformats.org/officeDocument/2006/relationships/slideLayout" Target="../slideLayouts/slideLayout100.xml"/><Relationship Id="rId6" Type="http://schemas.openxmlformats.org/officeDocument/2006/relationships/hyperlink" Target="https://lecta.ru/atlasplus/" TargetMode="External"/><Relationship Id="rId11" Type="http://schemas.openxmlformats.org/officeDocument/2006/relationships/image" Target="../media/image174.jpeg"/><Relationship Id="rId5" Type="http://schemas.openxmlformats.org/officeDocument/2006/relationships/image" Target="../media/image171.jpeg"/><Relationship Id="rId10" Type="http://schemas.openxmlformats.org/officeDocument/2006/relationships/image" Target="../media/image173.jpeg"/><Relationship Id="rId4" Type="http://schemas.openxmlformats.org/officeDocument/2006/relationships/image" Target="../media/image170.jpeg"/><Relationship Id="rId9" Type="http://schemas.openxmlformats.org/officeDocument/2006/relationships/hyperlink" Target="https://lecta.ru/lingua/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10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35.png"/><Relationship Id="rId3" Type="http://schemas.openxmlformats.org/officeDocument/2006/relationships/slideLayout" Target="../slideLayouts/slideLayout375.xml"/><Relationship Id="rId21" Type="http://schemas.openxmlformats.org/officeDocument/2006/relationships/image" Target="../media/image55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2" Type="http://schemas.openxmlformats.org/officeDocument/2006/relationships/tags" Target="../tags/tag383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2.png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5" Type="http://schemas.openxmlformats.org/officeDocument/2006/relationships/oleObject" Target="../embeddings/oleObject177.bin"/><Relationship Id="rId15" Type="http://schemas.openxmlformats.org/officeDocument/2006/relationships/image" Target="../media/image49.jpeg"/><Relationship Id="rId23" Type="http://schemas.openxmlformats.org/officeDocument/2006/relationships/image" Target="../media/image57.png"/><Relationship Id="rId28" Type="http://schemas.openxmlformats.org/officeDocument/2006/relationships/image" Target="../media/image61.pn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31" Type="http://schemas.openxmlformats.org/officeDocument/2006/relationships/image" Target="../media/image6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3.png"/><Relationship Id="rId14" Type="http://schemas.openxmlformats.org/officeDocument/2006/relationships/image" Target="../media/image48.jpeg"/><Relationship Id="rId22" Type="http://schemas.openxmlformats.org/officeDocument/2006/relationships/image" Target="../media/image56.png"/><Relationship Id="rId27" Type="http://schemas.openxmlformats.org/officeDocument/2006/relationships/image" Target="../media/image60.jpeg"/><Relationship Id="rId30" Type="http://schemas.openxmlformats.org/officeDocument/2006/relationships/image" Target="../media/image6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179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emf"/><Relationship Id="rId1" Type="http://schemas.openxmlformats.org/officeDocument/2006/relationships/slideLayout" Target="../slideLayouts/slideLayout44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emf"/><Relationship Id="rId1" Type="http://schemas.openxmlformats.org/officeDocument/2006/relationships/slideLayout" Target="../slideLayouts/slideLayout44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emf"/><Relationship Id="rId1" Type="http://schemas.openxmlformats.org/officeDocument/2006/relationships/slideLayout" Target="../slideLayouts/slideLayout44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emf"/><Relationship Id="rId1" Type="http://schemas.openxmlformats.org/officeDocument/2006/relationships/slideLayout" Target="../slideLayouts/slideLayout4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62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64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emf"/><Relationship Id="rId1" Type="http://schemas.openxmlformats.org/officeDocument/2006/relationships/slideLayout" Target="../slideLayouts/slideLayout67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emf"/><Relationship Id="rId1" Type="http://schemas.openxmlformats.org/officeDocument/2006/relationships/slideLayout" Target="../slideLayouts/slideLayout69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19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13" Type="http://schemas.openxmlformats.org/officeDocument/2006/relationships/image" Target="../media/image73.jpeg"/><Relationship Id="rId18" Type="http://schemas.openxmlformats.org/officeDocument/2006/relationships/image" Target="../media/image77.jpeg"/><Relationship Id="rId3" Type="http://schemas.openxmlformats.org/officeDocument/2006/relationships/slideLayout" Target="../slideLayouts/slideLayout383.xml"/><Relationship Id="rId21" Type="http://schemas.openxmlformats.org/officeDocument/2006/relationships/image" Target="../media/image80.png"/><Relationship Id="rId7" Type="http://schemas.openxmlformats.org/officeDocument/2006/relationships/image" Target="../media/image67.jpeg"/><Relationship Id="rId12" Type="http://schemas.openxmlformats.org/officeDocument/2006/relationships/image" Target="../media/image72.jpeg"/><Relationship Id="rId17" Type="http://schemas.openxmlformats.org/officeDocument/2006/relationships/image" Target="../media/image76.jpeg"/><Relationship Id="rId2" Type="http://schemas.openxmlformats.org/officeDocument/2006/relationships/tags" Target="../tags/tag384.xml"/><Relationship Id="rId16" Type="http://schemas.openxmlformats.org/officeDocument/2006/relationships/image" Target="../media/image75.jpeg"/><Relationship Id="rId20" Type="http://schemas.openxmlformats.org/officeDocument/2006/relationships/image" Target="../media/image79.png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66.jpeg"/><Relationship Id="rId11" Type="http://schemas.openxmlformats.org/officeDocument/2006/relationships/image" Target="../media/image71.jpeg"/><Relationship Id="rId5" Type="http://schemas.openxmlformats.org/officeDocument/2006/relationships/image" Target="../media/image65.jpeg"/><Relationship Id="rId15" Type="http://schemas.openxmlformats.org/officeDocument/2006/relationships/hyperlink" Target="https://rosuchebnik.ru/product/biologiya-9klass-uchebnik-429048/" TargetMode="External"/><Relationship Id="rId10" Type="http://schemas.openxmlformats.org/officeDocument/2006/relationships/image" Target="../media/image70.jpeg"/><Relationship Id="rId19" Type="http://schemas.openxmlformats.org/officeDocument/2006/relationships/image" Target="../media/image78.png"/><Relationship Id="rId4" Type="http://schemas.openxmlformats.org/officeDocument/2006/relationships/oleObject" Target="../embeddings/oleObject178.bin"/><Relationship Id="rId9" Type="http://schemas.openxmlformats.org/officeDocument/2006/relationships/image" Target="../media/image69.jpeg"/><Relationship Id="rId14" Type="http://schemas.openxmlformats.org/officeDocument/2006/relationships/image" Target="../media/image74.jpeg"/><Relationship Id="rId22" Type="http://schemas.openxmlformats.org/officeDocument/2006/relationships/image" Target="../media/image81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emf"/><Relationship Id="rId1" Type="http://schemas.openxmlformats.org/officeDocument/2006/relationships/slideLayout" Target="../slideLayouts/slideLayout73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7" Type="http://schemas.openxmlformats.org/officeDocument/2006/relationships/hyperlink" Target="http://lecta.rosuchebnin.ru/" TargetMode="External"/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719.xml"/><Relationship Id="rId6" Type="http://schemas.openxmlformats.org/officeDocument/2006/relationships/hyperlink" Target="https://lecta.ru/" TargetMode="External"/><Relationship Id="rId5" Type="http://schemas.openxmlformats.org/officeDocument/2006/relationships/image" Target="../media/image189.png"/><Relationship Id="rId4" Type="http://schemas.openxmlformats.org/officeDocument/2006/relationships/image" Target="../media/image167.jpe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8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9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6549450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56455" name="think-cell Slide" r:id="rId4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267087" y="703393"/>
            <a:ext cx="7576572" cy="1510693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ru-RU" sz="3200" dirty="0" smtClean="0">
                <a:latin typeface="+mn-lt"/>
              </a:rPr>
              <a:t>«Содержание и методический аппарат УМК по биологии для достижения </a:t>
            </a:r>
            <a:r>
              <a:rPr lang="ru-RU" sz="3200" dirty="0" smtClean="0">
                <a:latin typeface="+mn-lt"/>
              </a:rPr>
              <a:t>новых образовательных </a:t>
            </a:r>
            <a:r>
              <a:rPr lang="ru-RU" sz="3200" dirty="0" smtClean="0">
                <a:latin typeface="+mn-lt"/>
              </a:rPr>
              <a:t>результатов» </a:t>
            </a:r>
            <a:br>
              <a:rPr lang="ru-RU" sz="3200" dirty="0" smtClean="0">
                <a:latin typeface="+mn-lt"/>
              </a:rPr>
            </a:br>
            <a:endParaRPr lang="ru-RU" sz="320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8" y="6612027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89959" y="641550"/>
            <a:ext cx="3129553" cy="1221232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9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532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9" y="3139684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027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89" y="312526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417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2" descr="ÐÐ¸Ð¾Ð»Ð¾Ð³Ð¸Ñ. 9 ÐºÐ»Ð°ÑÑ. Ð£ÑÐµÐ±Ð½Ð¸Ðº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375" y="3125264"/>
            <a:ext cx="1307305" cy="1699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4" descr="https://articlerus.ru/wp-content/uploads/pic/ea7e9ee0000014df8002000001ff100a0191001ed9df0020004153d4d0d3c9189a1b53468f286309899301300036b8e6f211920dd2e57c7fc519e013481/b2940699dec756296c9370b39151c2d53817e2ee48a70a121d4fd3dc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884" y="4147839"/>
            <a:ext cx="1304257" cy="169553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ÐÐ¸Ð¾Ð»Ð¾Ð³Ð¸Ñ. 7 ÐºÐ»Ð°ÑÑ. Ð£ÑÐµÐ±Ð½Ð¸Ðº.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47" y="3115424"/>
            <a:ext cx="1307305" cy="1699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0711901" y="3081331"/>
            <a:ext cx="1272995" cy="170933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Рисунок 41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0460695" y="4259003"/>
            <a:ext cx="1216636" cy="166349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Picture 8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59" y="4159581"/>
            <a:ext cx="1304313" cy="169560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9139540" y="3137188"/>
            <a:ext cx="1248433" cy="165347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674981" y="4170601"/>
            <a:ext cx="1248433" cy="168458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62198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44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31" y="54859"/>
            <a:ext cx="11364684" cy="5693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314927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54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809" y="0"/>
            <a:ext cx="11850417" cy="6386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9266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64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5" y="0"/>
            <a:ext cx="11933425" cy="631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8052248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74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" y="1"/>
            <a:ext cx="11911497" cy="6400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6614287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85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7" y="136736"/>
            <a:ext cx="11814629" cy="560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1000073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5315" y="2"/>
            <a:ext cx="11785433" cy="1497281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ния УМК  по биологии для  5-9 классов </a:t>
            </a:r>
            <a:b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концентрический курс) В</a:t>
            </a:r>
            <a:r>
              <a:rPr lang="ru-RU" sz="2400" b="1" dirty="0" smtClean="0">
                <a:solidFill>
                  <a:srgbClr val="FFFF00"/>
                </a:solidFill>
                <a:latin typeface="Cambria" pitchFamily="18" charset="0"/>
              </a:rPr>
              <a:t>. И. </a:t>
            </a:r>
            <a:r>
              <a:rPr lang="ru-RU" sz="2400" b="1" dirty="0" err="1" smtClean="0">
                <a:solidFill>
                  <a:srgbClr val="FFFF00"/>
                </a:solidFill>
                <a:latin typeface="Cambria" pitchFamily="18" charset="0"/>
              </a:rPr>
              <a:t>Сивоглазов</a:t>
            </a:r>
            <a:r>
              <a:rPr lang="ru-RU" sz="2400" b="1" dirty="0" smtClean="0">
                <a:solidFill>
                  <a:srgbClr val="FFFF00"/>
                </a:solidFill>
                <a:latin typeface="Cambria" pitchFamily="18" charset="0"/>
              </a:rPr>
              <a:t> и др</a:t>
            </a:r>
            <a:r>
              <a:rPr lang="ru-RU" sz="2400" b="1" dirty="0">
                <a:solidFill>
                  <a:srgbClr val="FFFF00"/>
                </a:solidFill>
                <a:latin typeface="Cambria" pitchFamily="18" charset="0"/>
              </a:rPr>
              <a:t>. (1.2.5.2.5.1-1.2.5.2.5.5</a:t>
            </a:r>
            <a:r>
              <a:rPr lang="ru-RU" sz="3200" b="1" dirty="0">
                <a:solidFill>
                  <a:srgbClr val="FFFF00"/>
                </a:solidFill>
                <a:latin typeface="Cambria" pitchFamily="18" charset="0"/>
              </a:rPr>
              <a:t>)</a:t>
            </a:r>
            <a:r>
              <a:rPr lang="ru-RU" sz="32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32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727111338"/>
              </p:ext>
            </p:extLst>
          </p:nvPr>
        </p:nvGraphicFramePr>
        <p:xfrm>
          <a:off x="3" y="1023768"/>
          <a:ext cx="12446003" cy="5834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7867">
                  <a:extLst>
                    <a:ext uri="{9D8B030D-6E8A-4147-A177-3AD203B41FA5}">
                      <a16:colId xmlns:a16="http://schemas.microsoft.com/office/drawing/2014/main" xmlns="" val="1009214079"/>
                    </a:ext>
                  </a:extLst>
                </a:gridCol>
                <a:gridCol w="1933927">
                  <a:extLst>
                    <a:ext uri="{9D8B030D-6E8A-4147-A177-3AD203B41FA5}">
                      <a16:colId xmlns:a16="http://schemas.microsoft.com/office/drawing/2014/main" xmlns="" val="1377186744"/>
                    </a:ext>
                  </a:extLst>
                </a:gridCol>
                <a:gridCol w="2038207">
                  <a:extLst>
                    <a:ext uri="{9D8B030D-6E8A-4147-A177-3AD203B41FA5}">
                      <a16:colId xmlns:a16="http://schemas.microsoft.com/office/drawing/2014/main" xmlns="" val="1196261362"/>
                    </a:ext>
                  </a:extLst>
                </a:gridCol>
                <a:gridCol w="6137067">
                  <a:extLst>
                    <a:ext uri="{9D8B030D-6E8A-4147-A177-3AD203B41FA5}">
                      <a16:colId xmlns:a16="http://schemas.microsoft.com/office/drawing/2014/main" xmlns="" val="68953269"/>
                    </a:ext>
                  </a:extLst>
                </a:gridCol>
                <a:gridCol w="778935">
                  <a:extLst>
                    <a:ext uri="{9D8B030D-6E8A-4147-A177-3AD203B41FA5}">
                      <a16:colId xmlns:a16="http://schemas.microsoft.com/office/drawing/2014/main" xmlns="" val="3918061316"/>
                    </a:ext>
                  </a:extLst>
                </a:gridCol>
              </a:tblGrid>
              <a:tr h="564326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р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звание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ое содержание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сы в неделю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2372260"/>
                  </a:ext>
                </a:extLst>
              </a:tr>
              <a:tr h="90183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класс</a:t>
                      </a: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1.2.5.2.5.1</a:t>
                      </a:r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ивоглазов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</a:t>
                      </a: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В.И.,</a:t>
                      </a: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</a:rPr>
                        <a:t>Плешаков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 А.А.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ология. Введение в биологию. 5 класс»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одный курс в 5 классе выполняет пропедевтическую функцию. Учащиеся узнают, чем живая природа отличается от неживой, получают общие представления о структуре биологической науки.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час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51792027"/>
                  </a:ext>
                </a:extLst>
              </a:tr>
              <a:tr h="97976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 класс</a:t>
                      </a:r>
                    </a:p>
                    <a:p>
                      <a:endParaRPr lang="ru-RU" sz="18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1.2.5.2.5.2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8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ивоглазов</a:t>
                      </a:r>
                      <a:r>
                        <a:rPr lang="ru-RU" sz="18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В.И.</a:t>
                      </a:r>
                      <a:endParaRPr lang="ru-RU" sz="1800" kern="50" dirty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Живой организм. 6 класс»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матриваются принципы строения живых организмов и процессы их жизнедеятельности. Разделение материала учебника 6 класса на основной и дополнительный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/2 часа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43933846"/>
                  </a:ext>
                </a:extLst>
              </a:tr>
              <a:tr h="11272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класс</a:t>
                      </a: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1.2.5.2.5.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ивоглазов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В.И.,</a:t>
                      </a:r>
                      <a:endParaRPr lang="ru-RU" sz="16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апин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М.Р.,</a:t>
                      </a:r>
                      <a:endParaRPr lang="ru-RU" sz="16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Каменский А.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Многообразие живых организмов. 7 класс»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ит материал о строении, жизнедеятельности и многообразии бактерий, грибов, растений, животных, вирусов, принципах их классификации.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90935499"/>
                  </a:ext>
                </a:extLst>
              </a:tr>
              <a:tr h="11272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 класс</a:t>
                      </a: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1.2.5.2.5.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ивоглазов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В.И.,</a:t>
                      </a:r>
                      <a:endParaRPr lang="ru-RU" sz="16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6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апин</a:t>
                      </a:r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М.Р.,</a:t>
                      </a:r>
                      <a:endParaRPr lang="ru-RU" sz="16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Каменский А.А.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Человек. 8 класс» 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крывается биосоциальная природа человека, даются обзор основных систем органов, сведения о процессах жизнедеятельности и особенностях психической деятельности человека, о месте человека в природе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9227411"/>
                  </a:ext>
                </a:extLst>
              </a:tr>
              <a:tr h="113373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класс</a:t>
                      </a:r>
                    </a:p>
                    <a:p>
                      <a:r>
                        <a:rPr lang="ru-RU" sz="1600" kern="50" dirty="0" smtClean="0">
                          <a:effectLst/>
                          <a:latin typeface="Times New Roman"/>
                          <a:ea typeface="SimSun"/>
                        </a:rPr>
                        <a:t>1.2.5.2.5.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Захаров В.Б.,</a:t>
                      </a:r>
                      <a:endParaRPr lang="ru-RU" sz="14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 err="1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Сивоглазов</a:t>
                      </a:r>
                      <a:r>
                        <a:rPr lang="ru-RU" sz="14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 В.И.,</a:t>
                      </a:r>
                      <a:endParaRPr lang="ru-RU" sz="14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SimSun"/>
                          <a:cs typeface="Lucida Sans"/>
                        </a:rPr>
                        <a:t>Мамонтов С.Г.,</a:t>
                      </a:r>
                      <a:endParaRPr lang="ru-RU" sz="1400" kern="50" dirty="0" smtClean="0">
                        <a:effectLst/>
                        <a:latin typeface="Liberation Serif"/>
                        <a:ea typeface="SimSun"/>
                        <a:cs typeface="Lucida Sans"/>
                      </a:endParaRPr>
                    </a:p>
                    <a:p>
                      <a:r>
                        <a:rPr lang="ru-RU" sz="1400" kern="50" dirty="0" smtClean="0">
                          <a:effectLst/>
                          <a:latin typeface="Times New Roman"/>
                          <a:ea typeface="SimSun"/>
                        </a:rPr>
                        <a:t>Агафонов И.Б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Общие закономерности. 9 класс» 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комит с основными законами жизни на всех уровнях ее организации. В курс также включены основы цитологии, генетики, селекции, теория эволюции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74869990"/>
                  </a:ext>
                </a:extLst>
              </a:tr>
            </a:tbl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28" y="1228123"/>
            <a:ext cx="669623" cy="77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497" y="2124810"/>
            <a:ext cx="640752" cy="958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28" y="3218625"/>
            <a:ext cx="669623" cy="77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497" y="5352475"/>
            <a:ext cx="608888" cy="912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497" y="4185617"/>
            <a:ext cx="640752" cy="744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09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" y="1228020"/>
            <a:ext cx="763968" cy="104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091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31" y="2271857"/>
            <a:ext cx="744919" cy="1059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0917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67" y="3331639"/>
            <a:ext cx="720204" cy="1109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0918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937" y="4370534"/>
            <a:ext cx="695315" cy="982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0919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499" y="5631543"/>
            <a:ext cx="705260" cy="1035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493110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1045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94376" y="235271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И УМК </a:t>
            </a:r>
            <a:r>
              <a:rPr lang="ru-RU" sz="2400" b="1" dirty="0" smtClean="0">
                <a:solidFill>
                  <a:srgbClr val="EB2049"/>
                </a:solidFill>
              </a:rPr>
              <a:t>СИВОГЛАЗОВА </a:t>
            </a:r>
            <a:r>
              <a:rPr lang="ru-RU" sz="2400" b="1" dirty="0">
                <a:solidFill>
                  <a:srgbClr val="EB2049"/>
                </a:solidFill>
              </a:rPr>
              <a:t>В.И.</a:t>
            </a:r>
            <a:r>
              <a:rPr lang="ru-RU" sz="2400" b="1" dirty="0"/>
              <a:t> </a:t>
            </a:r>
            <a:endParaRPr lang="ru-RU" sz="2400" b="1" dirty="0" smtClean="0">
              <a:solidFill>
                <a:srgbClr val="EB204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9740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434279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59052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88103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8631286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465305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1" name="Рабочая тетрадь"/>
          <p:cNvSpPr txBox="1"/>
          <p:nvPr/>
        </p:nvSpPr>
        <p:spPr>
          <a:xfrm>
            <a:off x="723024" y="1933130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Рабочие тетради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7" y="1061640"/>
            <a:ext cx="747" cy="503167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0" name="Рабочая тетрадь"/>
          <p:cNvSpPr txBox="1"/>
          <p:nvPr/>
        </p:nvSpPr>
        <p:spPr>
          <a:xfrm>
            <a:off x="723024" y="3066621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Методические пособ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77" name="Рабочая тетрадь"/>
          <p:cNvSpPr txBox="1"/>
          <p:nvPr/>
        </p:nvSpPr>
        <p:spPr>
          <a:xfrm>
            <a:off x="723024" y="4239243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стовые задания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129" name="Рабочая тетрадь"/>
          <p:cNvSpPr txBox="1"/>
          <p:nvPr/>
        </p:nvSpPr>
        <p:spPr>
          <a:xfrm>
            <a:off x="723024" y="5183480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Альбомы проектов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H="1" flipV="1">
            <a:off x="10381412" y="1139954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6" name="Линия"/>
          <p:cNvSpPr>
            <a:spLocks/>
          </p:cNvSpPr>
          <p:nvPr/>
        </p:nvSpPr>
        <p:spPr>
          <a:xfrm flipH="1" flipV="1">
            <a:off x="7908636" y="1209893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8" name="Линия"/>
          <p:cNvSpPr>
            <a:spLocks/>
          </p:cNvSpPr>
          <p:nvPr/>
        </p:nvSpPr>
        <p:spPr>
          <a:xfrm flipH="1" flipV="1">
            <a:off x="6672248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9" name="Линия"/>
          <p:cNvSpPr>
            <a:spLocks/>
          </p:cNvSpPr>
          <p:nvPr/>
        </p:nvSpPr>
        <p:spPr>
          <a:xfrm flipH="1" flipV="1">
            <a:off x="5435860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0" name="Линия"/>
          <p:cNvSpPr>
            <a:spLocks/>
          </p:cNvSpPr>
          <p:nvPr/>
        </p:nvSpPr>
        <p:spPr>
          <a:xfrm flipH="1" flipV="1">
            <a:off x="4199472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4" y="1124199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667849" y="183474"/>
            <a:ext cx="2263807" cy="76455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Будет дополнен обложками</a:t>
            </a:r>
          </a:p>
        </p:txBody>
      </p:sp>
      <p:sp>
        <p:nvSpPr>
          <p:cNvPr id="29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705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655" y="0"/>
            <a:ext cx="12071515" cy="6691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756896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80960" y="1285993"/>
            <a:ext cx="11582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i="1" cap="all" dirty="0" smtClean="0">
                <a:solidFill>
                  <a:srgbClr val="A5A5A5">
                    <a:lumMod val="50000"/>
                  </a:srgbClr>
                </a:solidFill>
              </a:rPr>
              <a:t>			</a:t>
            </a:r>
            <a:endParaRPr lang="ru-RU" sz="1600" b="1" i="1" cap="all" dirty="0">
              <a:solidFill>
                <a:srgbClr val="A5A5A5">
                  <a:lumMod val="50000"/>
                </a:srgbClr>
              </a:solidFill>
            </a:endParaRPr>
          </a:p>
        </p:txBody>
      </p:sp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911424" y="56269"/>
            <a:ext cx="10108704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1" spc="-5" dirty="0" smtClean="0">
                <a:solidFill>
                  <a:srgbClr val="FFFF00"/>
                </a:solidFill>
                <a:latin typeface="Cambria" pitchFamily="18" charset="0"/>
              </a:rPr>
              <a:t>ФПУ  от 28.12.2019г. № 345</a:t>
            </a:r>
            <a:br>
              <a:rPr lang="ru-RU" sz="3200" b="1" spc="-5" dirty="0" smtClean="0">
                <a:solidFill>
                  <a:srgbClr val="FFFF00"/>
                </a:solidFill>
                <a:latin typeface="Cambria" pitchFamily="18" charset="0"/>
              </a:rPr>
            </a:br>
            <a:r>
              <a:rPr lang="ru-RU" sz="3200" b="1" spc="-5" dirty="0" smtClean="0">
                <a:solidFill>
                  <a:srgbClr val="FFFF00"/>
                </a:solidFill>
                <a:latin typeface="Cambria" pitchFamily="18" charset="0"/>
              </a:rPr>
              <a:t>Экология (1.3.6.2) стр. 83</a:t>
            </a:r>
            <a:endParaRPr sz="3200" b="1" spc="-5" dirty="0">
              <a:solidFill>
                <a:srgbClr val="FFFF00"/>
              </a:solidFill>
              <a:latin typeface="Cambria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648397" y="2095262"/>
            <a:ext cx="254360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  </a:t>
            </a:r>
            <a:r>
              <a:rPr lang="ru-RU" b="1" spc="-5" dirty="0" smtClean="0">
                <a:solidFill>
                  <a:srgbClr val="00B050"/>
                </a:solidFill>
                <a:latin typeface="Cambria" pitchFamily="18" charset="0"/>
                <a:cs typeface="Arial"/>
              </a:rPr>
              <a:t>1.3.6.2.3.1</a:t>
            </a:r>
          </a:p>
          <a:p>
            <a:r>
              <a:rPr lang="ru-RU" b="1" spc="-5" dirty="0" err="1" smtClean="0">
                <a:solidFill>
                  <a:srgbClr val="515151"/>
                </a:solidFill>
                <a:latin typeface="Cambria" pitchFamily="18" charset="0"/>
                <a:cs typeface="Arial"/>
              </a:rPr>
              <a:t>Б.М.Миркин</a:t>
            </a:r>
            <a:r>
              <a:rPr lang="ru-RU" b="1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 , </a:t>
            </a:r>
          </a:p>
          <a:p>
            <a:r>
              <a:rPr lang="ru-RU" b="1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Л.Г Наумова.,</a:t>
            </a:r>
          </a:p>
          <a:p>
            <a:r>
              <a:rPr lang="ru-RU" b="1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С.В </a:t>
            </a:r>
            <a:r>
              <a:rPr lang="ru-RU" b="1" spc="-5" dirty="0" err="1" smtClean="0">
                <a:solidFill>
                  <a:srgbClr val="515151"/>
                </a:solidFill>
                <a:latin typeface="Cambria" pitchFamily="18" charset="0"/>
                <a:cs typeface="Arial"/>
              </a:rPr>
              <a:t>Суматохин</a:t>
            </a:r>
            <a:endParaRPr lang="ru-RU" b="1" spc="-5" dirty="0" smtClean="0">
              <a:solidFill>
                <a:srgbClr val="515151"/>
              </a:solidFill>
              <a:latin typeface="Cambria" pitchFamily="18" charset="0"/>
              <a:cs typeface="Arial"/>
            </a:endParaRPr>
          </a:p>
          <a:p>
            <a:r>
              <a:rPr lang="ru-RU" dirty="0" smtClean="0">
                <a:solidFill>
                  <a:srgbClr val="515151"/>
                </a:solidFill>
              </a:rPr>
              <a:t> </a:t>
            </a:r>
            <a:endParaRPr lang="ru-RU" dirty="0">
              <a:solidFill>
                <a:srgbClr val="51515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963335" y="2095264"/>
            <a:ext cx="30366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spc="-5" dirty="0" smtClean="0">
                <a:solidFill>
                  <a:srgbClr val="00B050"/>
                </a:solidFill>
                <a:latin typeface="Cambria" pitchFamily="18" charset="0"/>
                <a:cs typeface="Arial"/>
              </a:rPr>
              <a:t>1.3.6.2.4.1</a:t>
            </a:r>
            <a:endParaRPr lang="ru-RU" b="1" spc="-5" dirty="0">
              <a:solidFill>
                <a:srgbClr val="00B050"/>
              </a:solidFill>
              <a:latin typeface="Cambria" pitchFamily="18" charset="0"/>
              <a:cs typeface="Arial"/>
            </a:endParaRPr>
          </a:p>
          <a:p>
            <a:r>
              <a:rPr lang="ru-RU" b="1" spc="-5" dirty="0" err="1" smtClean="0">
                <a:solidFill>
                  <a:srgbClr val="515151"/>
                </a:solidFill>
                <a:latin typeface="Cambria" pitchFamily="18" charset="0"/>
                <a:cs typeface="Arial"/>
              </a:rPr>
              <a:t>Н.М.Чернова</a:t>
            </a:r>
            <a:r>
              <a:rPr lang="ru-RU" b="1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,</a:t>
            </a:r>
          </a:p>
          <a:p>
            <a:r>
              <a:rPr lang="ru-RU" b="1" spc="-5" dirty="0" err="1" smtClean="0">
                <a:solidFill>
                  <a:srgbClr val="515151"/>
                </a:solidFill>
                <a:latin typeface="Cambria" pitchFamily="18" charset="0"/>
                <a:cs typeface="Arial"/>
              </a:rPr>
              <a:t>В.М.Галушин</a:t>
            </a:r>
            <a:endParaRPr lang="ru-RU" b="1" spc="-5" dirty="0" smtClean="0">
              <a:solidFill>
                <a:srgbClr val="515151"/>
              </a:solidFill>
              <a:latin typeface="Cambria" pitchFamily="18" charset="0"/>
              <a:cs typeface="Arial"/>
            </a:endParaRPr>
          </a:p>
          <a:p>
            <a:r>
              <a:rPr lang="ru-RU" b="1" spc="-5" dirty="0" smtClean="0">
                <a:solidFill>
                  <a:srgbClr val="515151"/>
                </a:solidFill>
                <a:latin typeface="Cambria" pitchFamily="18" charset="0"/>
                <a:cs typeface="Arial"/>
              </a:rPr>
              <a:t>В.М.Константинов</a:t>
            </a:r>
            <a:endParaRPr lang="ru-RU" b="1" spc="-5" dirty="0">
              <a:solidFill>
                <a:srgbClr val="515151"/>
              </a:solidFill>
              <a:latin typeface="Cambria" pitchFamily="18" charset="0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366933" y="3295595"/>
            <a:ext cx="5825067" cy="4001095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F0000"/>
                </a:solidFill>
              </a:rPr>
              <a:t>- </a:t>
            </a:r>
            <a:r>
              <a:rPr lang="ru-RU" dirty="0" smtClean="0">
                <a:solidFill>
                  <a:srgbClr val="FF0000"/>
                </a:solidFill>
              </a:rPr>
              <a:t>Общая экология </a:t>
            </a:r>
            <a:r>
              <a:rPr lang="ru-RU" dirty="0" smtClean="0">
                <a:solidFill>
                  <a:srgbClr val="515151"/>
                </a:solidFill>
              </a:rPr>
              <a:t>(</a:t>
            </a:r>
            <a:r>
              <a:rPr lang="ru-RU" dirty="0" err="1" smtClean="0">
                <a:solidFill>
                  <a:srgbClr val="515151"/>
                </a:solidFill>
              </a:rPr>
              <a:t>экология</a:t>
            </a:r>
            <a:r>
              <a:rPr lang="ru-RU" dirty="0" smtClean="0">
                <a:solidFill>
                  <a:srgbClr val="515151"/>
                </a:solidFill>
              </a:rPr>
              <a:t> видов, популяций, экосистем и биосферы), 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- Прикладная экология </a:t>
            </a:r>
            <a:r>
              <a:rPr lang="ru-RU" dirty="0" smtClean="0">
                <a:solidFill>
                  <a:srgbClr val="515151"/>
                </a:solidFill>
              </a:rPr>
              <a:t>(сельскохозяйственная,  городская, промышленная экология; вопросы охраны природы, механизмы рационального природопользования) </a:t>
            </a:r>
          </a:p>
          <a:p>
            <a:pPr>
              <a:buFontTx/>
              <a:buChar char="-"/>
            </a:pPr>
            <a:r>
              <a:rPr lang="ru-RU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dirty="0" smtClean="0">
                <a:solidFill>
                  <a:srgbClr val="515151"/>
                </a:solidFill>
              </a:rPr>
              <a:t>(концепция устойчивого развития, глобальные экологические проблемы, международное сотрудничество в деле сохранения окружающей среды и формирование нового экологического менталитета населения). </a:t>
            </a:r>
          </a:p>
          <a:p>
            <a:r>
              <a:rPr lang="ru-RU" dirty="0" smtClean="0">
                <a:solidFill>
                  <a:srgbClr val="515151"/>
                </a:solidFill>
              </a:rPr>
              <a:t>Большинство глав содержит дополнительный справочный материал, который позволяет старшеклассникам расширить свой кругозор.</a:t>
            </a:r>
            <a:endParaRPr lang="ru-RU" dirty="0">
              <a:solidFill>
                <a:srgbClr val="51515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" y="3405224"/>
            <a:ext cx="6366932" cy="3170099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2000" dirty="0" smtClean="0">
                <a:solidFill>
                  <a:srgbClr val="FF0000"/>
                </a:solidFill>
              </a:rPr>
              <a:t>Общая экология – </a:t>
            </a:r>
            <a:r>
              <a:rPr lang="ru-RU" sz="2000" dirty="0" smtClean="0">
                <a:solidFill>
                  <a:srgbClr val="515151"/>
                </a:solidFill>
              </a:rPr>
              <a:t>рассматриваются основные  законы природы, поддерживающие её устойчивость,</a:t>
            </a:r>
          </a:p>
          <a:p>
            <a:pPr>
              <a:buFontTx/>
              <a:buChar char="-"/>
            </a:pPr>
            <a:r>
              <a:rPr lang="ru-RU" sz="2000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sz="2000" dirty="0" smtClean="0">
                <a:solidFill>
                  <a:srgbClr val="515151"/>
                </a:solidFill>
              </a:rPr>
              <a:t>– рассматривает взаимоотношения общества и природы и возникающие в связи с этим экологические проблемы, а также основные принципы охраны природы.</a:t>
            </a:r>
          </a:p>
          <a:p>
            <a:r>
              <a:rPr lang="ru-RU" sz="2000" dirty="0" smtClean="0">
                <a:solidFill>
                  <a:srgbClr val="515151"/>
                </a:solidFill>
              </a:rPr>
              <a:t>В методический аппарат включено большое количество разнообразных заданий, проблемных вопросов, материалов для дискуссий, примеров и дополнительной информации.</a:t>
            </a:r>
            <a:endParaRPr lang="ru-RU" sz="2000" dirty="0">
              <a:solidFill>
                <a:srgbClr val="515151"/>
              </a:solidFill>
            </a:endParaRPr>
          </a:p>
        </p:txBody>
      </p:sp>
      <p:pic>
        <p:nvPicPr>
          <p:cNvPr id="14" name="Рисунок 13" descr="Линия УМК Миркина. Экология. (10-11)">
            <a:hlinkClick r:id="rId2" tooltip="&quot;Линия УМК Миркина. Экология. (10-11)&quot;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4085" y="1221904"/>
            <a:ext cx="1536171" cy="184705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38914" name="Picture 2" descr="Линия УМК Миркина. Экология. (10-11)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7063" y="1591573"/>
            <a:ext cx="1403233" cy="165527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pic>
        <p:nvPicPr>
          <p:cNvPr id="38916" name="Picture 4" descr="Линия УМК Н. М. Черновой. Экология (10-11) (баз.)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01552" y="1599811"/>
            <a:ext cx="1524000" cy="17444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pic>
        <p:nvPicPr>
          <p:cNvPr id="38918" name="Picture 6" descr="Линия УМК Н. М. Черновой. Экология (10-11) (баз.)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361" y="1221904"/>
            <a:ext cx="1524000" cy="183031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304800" y="990600"/>
            <a:ext cx="115824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ятиугольник 15"/>
          <p:cNvSpPr/>
          <p:nvPr/>
        </p:nvSpPr>
        <p:spPr>
          <a:xfrm>
            <a:off x="239349" y="764704"/>
            <a:ext cx="1824203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  <a:latin typeface="Cambria" pitchFamily="18" charset="0"/>
              </a:rPr>
              <a:t>10-11</a:t>
            </a:r>
            <a:endParaRPr lang="ru-RU" sz="2800" b="1" dirty="0">
              <a:solidFill>
                <a:srgbClr val="FFFFFF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3250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" y="1"/>
            <a:ext cx="12192001" cy="1574800"/>
          </a:xfrm>
        </p:spPr>
        <p:txBody>
          <a:bodyPr>
            <a:noAutofit/>
          </a:bodyPr>
          <a:lstStyle/>
          <a:p>
            <a:pPr lvl="0" algn="ctr" defTabSz="1219170">
              <a:spcBef>
                <a:spcPct val="20000"/>
              </a:spcBef>
            </a:pPr>
            <a:r>
              <a:rPr lang="ru-RU" sz="2000" b="1" dirty="0" smtClean="0">
                <a:solidFill>
                  <a:srgbClr val="FFFF00"/>
                </a:solidFill>
              </a:rPr>
              <a:t/>
            </a:r>
            <a:br>
              <a:rPr lang="ru-RU" sz="2000" b="1" dirty="0" smtClean="0">
                <a:solidFill>
                  <a:srgbClr val="FFFF00"/>
                </a:solidFill>
              </a:rPr>
            </a:br>
            <a:r>
              <a:rPr lang="ru-RU" sz="2000" b="1" dirty="0">
                <a:solidFill>
                  <a:srgbClr val="FFFF00"/>
                </a:solidFill>
              </a:rPr>
              <a:t/>
            </a:r>
            <a:br>
              <a:rPr lang="ru-RU" sz="2000" b="1" dirty="0">
                <a:solidFill>
                  <a:srgbClr val="FFFF00"/>
                </a:solidFill>
              </a:rPr>
            </a:br>
            <a:r>
              <a:rPr lang="ru-RU" sz="20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ПРОСВЕЩЕНИЯ России от 28.12.2018 № 345 "О федеральном перечне учебников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"</a:t>
            </a:r>
            <a:b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СТЕСТВОЗНАНИЕ 10-11 (1.3.5.8) стр. 83</a:t>
            </a:r>
            <a:b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600204"/>
            <a:ext cx="12039600" cy="4525963"/>
          </a:xfrm>
        </p:spPr>
        <p:txBody>
          <a:bodyPr/>
          <a:lstStyle/>
          <a:p>
            <a:pPr marL="514350" lvl="0" indent="-514350" defTabSz="1219170">
              <a:buAutoNum type="arabicPeriod"/>
            </a:pP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ашина </a:t>
            </a:r>
            <a:r>
              <a:rPr lang="ru-RU" sz="3200" b="1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.Ю. – АО «Издательство «</a:t>
            </a: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вещение» (</a:t>
            </a:r>
            <a:r>
              <a:rPr lang="ru-RU" sz="32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8.1.1-1.3.5.8.1.2</a:t>
            </a: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0" lvl="0" indent="0" defTabSz="1219170">
              <a:buNone/>
            </a:pP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3200" b="1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Габриелян О.С. – ООО «ДРОФА</a:t>
            </a: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3200" b="1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32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8.2.1-1.3.5.8.2.2)</a:t>
            </a:r>
            <a:endParaRPr lang="ru-RU" sz="3200" b="1" dirty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defTabSz="1219170">
              <a:buNone/>
            </a:pPr>
            <a:endParaRPr lang="ru-RU" sz="3200" b="1" dirty="0" smtClean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defTabSz="1219170">
              <a:buNone/>
            </a:pPr>
            <a:endParaRPr lang="ru-RU" sz="3200" b="1" dirty="0" smtClean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defTabSz="1219170">
              <a:buNone/>
            </a:pP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3200" b="1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Титов С.А. – ООО« ДРОФА</a:t>
            </a:r>
            <a:r>
              <a:rPr lang="ru-RU" sz="32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3200" b="1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32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8.3.1-1.3.5.8.3.2</a:t>
            </a:r>
            <a:r>
              <a:rPr lang="ru-RU" sz="32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3200" b="1" dirty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Естествознание. Базовый уровень. 10 класс. Учебник">
            <a:hlinkClick r:id="rId2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13570" y="3203659"/>
            <a:ext cx="1280111" cy="1412117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287" y="3181588"/>
            <a:ext cx="1419660" cy="145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503" y="4975932"/>
            <a:ext cx="1240632" cy="1339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287" y="4976034"/>
            <a:ext cx="1419660" cy="1559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845829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1036" y="2932116"/>
            <a:ext cx="9834033" cy="250825"/>
          </a:xfrm>
        </p:spPr>
        <p:txBody>
          <a:bodyPr rtlCol="0">
            <a:normAutofit fontScale="90000"/>
          </a:bodyPr>
          <a:lstStyle/>
          <a:p>
            <a:pPr defTabSz="914378" fontAlgn="auto"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type="subTitle" idx="1"/>
          </p:nvPr>
        </p:nvSpPr>
        <p:spPr>
          <a:xfrm>
            <a:off x="1092820" y="2714324"/>
            <a:ext cx="10169912" cy="2695074"/>
          </a:xfrm>
        </p:spPr>
        <p:txBody>
          <a:bodyPr rtlCol="0">
            <a:normAutofit fontScale="62500" lnSpcReduction="20000"/>
          </a:bodyPr>
          <a:lstStyle/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kern="10" dirty="0">
              <a:ln w="12700">
                <a:solidFill>
                  <a:srgbClr val="495E87"/>
                </a:solidFill>
                <a:round/>
                <a:headEnd/>
                <a:tailEnd/>
              </a:ln>
            </a:endParaRP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7200" b="1" dirty="0"/>
              <a:t>8-495-795-05-35</a:t>
            </a:r>
            <a:r>
              <a:rPr lang="en-US" sz="7200" b="1" dirty="0"/>
              <a:t> (</a:t>
            </a:r>
            <a:r>
              <a:rPr lang="ru-RU" sz="7200" b="1" dirty="0"/>
              <a:t>доб.71-55</a:t>
            </a:r>
            <a:r>
              <a:rPr lang="en-US" sz="7200" b="1" dirty="0"/>
              <a:t>)</a:t>
            </a:r>
            <a:r>
              <a:rPr lang="ru-RU" sz="7200" b="1" dirty="0"/>
              <a:t>, </a:t>
            </a:r>
            <a:r>
              <a:rPr lang="ru-RU" sz="7200" b="1" dirty="0" smtClean="0"/>
              <a:t>Кондратьева Елена Михайловна</a:t>
            </a: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7200" dirty="0" smtClean="0"/>
              <a:t>Kondrateva.EM@rosuchebnik.ru</a:t>
            </a:r>
            <a:endParaRPr lang="en-US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961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17505" y="1222006"/>
            <a:ext cx="430668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cap="all" dirty="0" smtClean="0">
                <a:solidFill>
                  <a:srgbClr val="A5A5A5">
                    <a:lumMod val="50000"/>
                  </a:srgbClr>
                </a:solidFill>
              </a:rPr>
              <a:t>			</a:t>
            </a:r>
            <a:r>
              <a:rPr lang="ru-RU" sz="1400" b="1" i="1" cap="all" dirty="0" smtClean="0">
                <a:solidFill>
                  <a:srgbClr val="515151"/>
                </a:solidFill>
                <a:latin typeface="Cambria" pitchFamily="18" charset="0"/>
              </a:rPr>
              <a:t> </a:t>
            </a:r>
            <a:r>
              <a:rPr lang="ru-RU" sz="2000" b="1" i="1" cap="all" dirty="0" smtClean="0">
                <a:solidFill>
                  <a:srgbClr val="0063B5"/>
                </a:solidFill>
                <a:latin typeface="Cambria" pitchFamily="18" charset="0"/>
              </a:rPr>
              <a:t>естествознание</a:t>
            </a:r>
            <a:endParaRPr lang="ru-RU" sz="2000" b="1" i="1" cap="all" dirty="0">
              <a:solidFill>
                <a:srgbClr val="0063B5"/>
              </a:solidFill>
            </a:endParaRPr>
          </a:p>
        </p:txBody>
      </p:sp>
      <p:sp>
        <p:nvSpPr>
          <p:cNvPr id="14" name="Прямоугольник 22"/>
          <p:cNvSpPr>
            <a:spLocks noChangeArrowheads="1"/>
          </p:cNvSpPr>
          <p:nvPr/>
        </p:nvSpPr>
        <p:spPr bwMode="auto">
          <a:xfrm>
            <a:off x="143339" y="4653226"/>
            <a:ext cx="3374165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219170">
              <a:spcBef>
                <a:spcPct val="20000"/>
              </a:spcBef>
            </a:pPr>
            <a:r>
              <a:rPr lang="ru-RU" sz="2000" dirty="0">
                <a:solidFill>
                  <a:srgbClr val="92D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8.2.1-1.3.5.8.2.2)</a:t>
            </a:r>
            <a:endParaRPr lang="ru-RU" sz="2000" b="1" dirty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Линия УМК 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О. С</a:t>
            </a:r>
            <a:r>
              <a:rPr lang="ru-RU" b="1" dirty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. 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Габриелян; 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Н. С. </a:t>
            </a:r>
            <a:r>
              <a:rPr lang="ru-RU" b="1" dirty="0" err="1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Пурышева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; 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 </a:t>
            </a:r>
            <a:r>
              <a:rPr lang="ru-RU" b="1" dirty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и др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rgbClr val="515151">
                  <a:lumMod val="95000"/>
                  <a:lumOff val="5000"/>
                </a:srgbClr>
              </a:solidFill>
              <a:latin typeface="Cambria" pitchFamily="18" charset="0"/>
            </a:endParaRPr>
          </a:p>
        </p:txBody>
      </p:sp>
      <p:sp>
        <p:nvSpPr>
          <p:cNvPr id="15" name="Прямоугольник 22"/>
          <p:cNvSpPr>
            <a:spLocks noChangeArrowheads="1"/>
          </p:cNvSpPr>
          <p:nvPr/>
        </p:nvSpPr>
        <p:spPr bwMode="auto">
          <a:xfrm>
            <a:off x="8737600" y="4581218"/>
            <a:ext cx="34544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219170">
              <a:spcBef>
                <a:spcPct val="20000"/>
              </a:spcBef>
            </a:pPr>
            <a:r>
              <a:rPr lang="ru-RU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8.3.1-1.3.5.8.3.2)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Линия УМК 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С. А. Титов;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 И. Б. Агафонова; </a:t>
            </a:r>
          </a:p>
          <a:p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 и </a:t>
            </a:r>
            <a:r>
              <a:rPr lang="ru-RU" b="1" dirty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др</a:t>
            </a:r>
            <a:r>
              <a:rPr lang="ru-RU" b="1" dirty="0" smtClean="0">
                <a:solidFill>
                  <a:srgbClr val="515151">
                    <a:lumMod val="95000"/>
                    <a:lumOff val="5000"/>
                  </a:srgb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rgbClr val="515151">
                  <a:lumMod val="95000"/>
                  <a:lumOff val="5000"/>
                </a:srgbClr>
              </a:solidFill>
              <a:latin typeface="Cambria" pitchFamily="18" charset="0"/>
            </a:endParaRPr>
          </a:p>
        </p:txBody>
      </p:sp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239349" y="95871"/>
            <a:ext cx="11587483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1" spc="-5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ПУ  от 28.12.2019г. № 345</a:t>
            </a:r>
            <a:br>
              <a:rPr lang="ru-RU" sz="3200" b="1" spc="-5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ОЗНАНИЕ </a:t>
            </a:r>
            <a: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-11 (1.3.5.8) стр. 83</a:t>
            </a:r>
            <a:b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sz="3200" b="1" spc="-5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67917" y="1700811"/>
            <a:ext cx="576968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й курс «Естествознание»  адресован учащимся 10 – 11 классов общеобразовательных учреждений и классов социально – экономического, гуманитарного, информационно – технологического профиля</a:t>
            </a: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матривает объекты и явления естественного мира в гармонии физики, химии, биологии, астрологии, географии и экологии</a:t>
            </a: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 ориентирован на формирование у обучающихся целостного восприятия окружающего мира и эмоционально -  ценностного отношения к изучаемому материалу, установление смысла и значения содержания объектов и явлений природы</a:t>
            </a:r>
            <a:endParaRPr lang="ru-RU" sz="2000" b="1" dirty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Естествознание. Базовый уровень. 10 класс. Учебник">
            <a:hlinkClick r:id="rId2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9349" y="1700808"/>
            <a:ext cx="1728192" cy="18722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22" name="Рисунок 21" descr="Естествознание. Базовый уровень. 11 класс. Учебник">
            <a:hlinkClick r:id="rId4"/>
          </p:cNvPr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43714" y="2492896"/>
            <a:ext cx="1824203" cy="18722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23" name="Рисунок 22" descr="Естествознание.Базовый уровень.10кл.ВЕРТИКАЛЬ (перераб.)">
            <a:hlinkClick r:id="rId6"/>
          </p:cNvPr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128555" y="1700808"/>
            <a:ext cx="1728192" cy="18722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24" name="Рисунок 23" descr="Естествознание.Базовый уровень.11кл.ВЕРТИКАЛЬ">
            <a:hlinkClick r:id="rId8"/>
          </p:cNvPr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128448" y="2492896"/>
            <a:ext cx="1698384" cy="18722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sp>
        <p:nvSpPr>
          <p:cNvPr id="13" name="Пятиугольник 12"/>
          <p:cNvSpPr/>
          <p:nvPr/>
        </p:nvSpPr>
        <p:spPr>
          <a:xfrm>
            <a:off x="431373" y="764704"/>
            <a:ext cx="1824203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  <a:latin typeface="Cambria" pitchFamily="18" charset="0"/>
              </a:rPr>
              <a:t>10-11</a:t>
            </a:r>
            <a:endParaRPr lang="ru-RU" sz="2800" b="1" dirty="0">
              <a:solidFill>
                <a:srgbClr val="FFFFFF"/>
              </a:solidFill>
              <a:latin typeface="Cambria" pitchFamily="18" charset="0"/>
            </a:endParaRPr>
          </a:p>
        </p:txBody>
      </p:sp>
      <p:cxnSp>
        <p:nvCxnSpPr>
          <p:cNvPr id="16" name="Прямая соединительная линия 15"/>
          <p:cNvCxnSpPr>
            <a:stCxn id="13" idx="3"/>
          </p:cNvCxnSpPr>
          <p:nvPr/>
        </p:nvCxnSpPr>
        <p:spPr>
          <a:xfrm flipV="1">
            <a:off x="2255573" y="980728"/>
            <a:ext cx="9601067" cy="12576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30488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03203" y="1520469"/>
            <a:ext cx="9173028" cy="4778317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ru-RU" sz="2400" dirty="0" smtClean="0">
                <a:solidFill>
                  <a:schemeClr val="accent2"/>
                </a:solidFill>
              </a:rPr>
              <a:t>Рабочие программы учебных предметов, курсов должны содержать:</a:t>
            </a:r>
          </a:p>
          <a:p>
            <a:r>
              <a:rPr lang="ru-RU" sz="2400" dirty="0" smtClean="0"/>
              <a:t>планируемые результаты освоения учебного предмета, курса;</a:t>
            </a:r>
          </a:p>
          <a:p>
            <a:r>
              <a:rPr lang="ru-RU" sz="2400" dirty="0" smtClean="0"/>
              <a:t>содержание учебного предмета, курса;</a:t>
            </a:r>
          </a:p>
          <a:p>
            <a:r>
              <a:rPr lang="ru-RU" sz="2400" dirty="0" smtClean="0"/>
              <a:t>тематическое планирование с указанием количества часов, отводимых на освоение каждой темы.</a:t>
            </a:r>
            <a:endParaRPr lang="ru-RU" sz="2400" dirty="0" smtClean="0">
              <a:solidFill>
                <a:srgbClr val="FF0000"/>
              </a:solidFill>
            </a:endParaRPr>
          </a:p>
          <a:p>
            <a:pPr>
              <a:buNone/>
            </a:pPr>
            <a:r>
              <a:rPr lang="ru-RU" sz="2400" dirty="0" smtClean="0">
                <a:solidFill>
                  <a:schemeClr val="accent2"/>
                </a:solidFill>
              </a:rPr>
              <a:t>Рабочие программы курсов внеурочной деятельности включают:</a:t>
            </a:r>
          </a:p>
          <a:p>
            <a:r>
              <a:rPr lang="ru-RU" sz="2400" dirty="0" smtClean="0"/>
              <a:t>результаты освоения курсов внеурочной деятельности;</a:t>
            </a:r>
          </a:p>
          <a:p>
            <a:r>
              <a:rPr lang="ru-RU" sz="2400" dirty="0" smtClean="0"/>
              <a:t>содержание курса внеурочной деятельности с указанием форм организации и видов деятельности;</a:t>
            </a:r>
          </a:p>
          <a:p>
            <a:r>
              <a:rPr lang="ru-RU" sz="2400" dirty="0" smtClean="0"/>
              <a:t>тематическое планирование.</a:t>
            </a:r>
          </a:p>
          <a:p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03200" y="135468"/>
            <a:ext cx="117178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Министерства образования и науки РФ от </a:t>
            </a:r>
          </a:p>
          <a:p>
            <a:pPr algn="ctr"/>
            <a:r>
              <a:rPr lang="ru-RU" sz="28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 октября 2015 г. № 08-1786 </a:t>
            </a:r>
          </a:p>
          <a:p>
            <a:pPr algn="ctr"/>
            <a:r>
              <a:rPr lang="ru-RU" sz="28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О рабочих программах учебных предметов” </a:t>
            </a:r>
            <a:endParaRPr lang="ru-RU" sz="28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Биология. 10–11 классы. Рабочие программы">
            <a:hlinkClick r:id="rId2" tooltip="&quot;Биология. 10–11 классы. Рабочие программы&quot;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04843" y="4032402"/>
            <a:ext cx="2016224" cy="223224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9" name="Рисунок 8" descr="Биология. 5-11 классы. Рабочая программа (с CD-диском)">
            <a:hlinkClick r:id="rId4" tooltip="&quot;Биология. 5-11 классы. Рабочая программа (с CD-диском)&quot;"/>
          </p:cNvPr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880557" y="1393371"/>
            <a:ext cx="2040577" cy="219968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716234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81"/>
          <p:cNvSpPr txBox="1">
            <a:spLocks noGrp="1"/>
          </p:cNvSpPr>
          <p:nvPr>
            <p:ph type="ctrTitle" idx="4294967295"/>
          </p:nvPr>
        </p:nvSpPr>
        <p:spPr>
          <a:xfrm>
            <a:off x="474135" y="964768"/>
            <a:ext cx="11430001" cy="34040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41294" lvl="0" indent="-241294" algn="ctr" defTabSz="1219170">
              <a:spcBef>
                <a:spcPct val="20000"/>
              </a:spcBef>
            </a:pP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ебники рекомендуемые  к использованию при реализации части основной образовательной программы, формируемой участниками  образовательных отношений.</a:t>
            </a:r>
            <a:b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ебные курсы , обеспечивающие образовательные потребности обучающихся, курсы по выбору</a:t>
            </a:r>
            <a:r>
              <a:rPr lang="ru-RU" sz="3600" kern="1200" dirty="0">
                <a:solidFill>
                  <a:srgbClr val="FFFF00"/>
                </a:solidFill>
                <a:ea typeface="+mn-ea"/>
                <a:cs typeface="+mn-cs"/>
              </a:rPr>
              <a:t/>
            </a:r>
            <a:br>
              <a:rPr lang="ru-RU" sz="3600" kern="1200" dirty="0">
                <a:solidFill>
                  <a:srgbClr val="FFFF00"/>
                </a:solidFill>
                <a:ea typeface="+mn-ea"/>
                <a:cs typeface="+mn-cs"/>
              </a:rPr>
            </a:br>
            <a:endParaRPr sz="3600" dirty="0">
              <a:solidFill>
                <a:srgbClr val="FFFF00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  <p:sp>
        <p:nvSpPr>
          <p:cNvPr id="710" name="Google Shape;710;p81"/>
          <p:cNvSpPr txBox="1"/>
          <p:nvPr/>
        </p:nvSpPr>
        <p:spPr>
          <a:xfrm>
            <a:off x="914403" y="4550304"/>
            <a:ext cx="10794380" cy="1644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600"/>
              <a:defRPr/>
            </a:pP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ИНПРОСВЕЩЕНИЯ России от 28.12.2018 № 345 </a:t>
            </a:r>
            <a:endParaRPr sz="2400" kern="0" dirty="0">
              <a:solidFill>
                <a:srgbClr val="FFFFFF"/>
              </a:solidFill>
              <a:latin typeface="Blackadder ITC" panose="04020505051007020D02" pitchFamily="82" charset="0"/>
              <a:ea typeface="Roboto"/>
              <a:cs typeface="Roboto"/>
              <a:sym typeface="Roboto"/>
            </a:endParaRPr>
          </a:p>
        </p:txBody>
      </p:sp>
      <p:sp>
        <p:nvSpPr>
          <p:cNvPr id="711" name="Google Shape;711;p81"/>
          <p:cNvSpPr txBox="1">
            <a:spLocks noGrp="1"/>
          </p:cNvSpPr>
          <p:nvPr>
            <p:ph type="ctrTitle" idx="4294967295"/>
          </p:nvPr>
        </p:nvSpPr>
        <p:spPr>
          <a:xfrm>
            <a:off x="270936" y="778934"/>
            <a:ext cx="829735" cy="1995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 dirty="0" smtClean="0">
                <a:solidFill>
                  <a:srgbClr val="ED1064"/>
                </a:solidFill>
                <a:latin typeface="Roboto Slab Light"/>
                <a:ea typeface="Roboto Slab Light"/>
                <a:cs typeface="Roboto Slab Light"/>
                <a:sym typeface="Roboto Slab Light"/>
              </a:rPr>
              <a:t>2</a:t>
            </a:r>
            <a:endParaRPr sz="6400" dirty="0">
              <a:solidFill>
                <a:srgbClr val="ED1064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44942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133" y="-152400"/>
            <a:ext cx="11812211" cy="193765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</a:t>
            </a:r>
            <a:r>
              <a:rPr lang="ru-RU" sz="31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ы , обеспечивающие образовательные потребности обучающихся, курсы по выбору </a:t>
            </a:r>
            <a:r>
              <a:rPr lang="ru-RU" sz="2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.2.6.1.7.2) ООО «Дрофа»</a:t>
            </a:r>
            <a:br>
              <a:rPr lang="ru-RU" sz="2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ведение в естественно-научные предметы» </a:t>
            </a:r>
            <a:r>
              <a:rPr lang="ru-RU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кулова</a:t>
            </a: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.М. , Иванова Н.В.</a:t>
            </a:r>
            <a:b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30145" y="2120547"/>
            <a:ext cx="2931715" cy="3485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749" y="2673736"/>
            <a:ext cx="3146651" cy="3574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65" y="1586275"/>
            <a:ext cx="2748507" cy="3514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4428950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" y="0"/>
            <a:ext cx="12056532" cy="123371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курсы , обеспечивающие образовательные потребности обучающихся, курсы по выбору (2.2.6.1.7.1)  ООО «Дрофа»</a:t>
            </a:r>
            <a:br>
              <a:rPr lang="ru-RU" sz="3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ведение в естественно-научные предметы»  Гуревич А.В., Исаев Д.А., </a:t>
            </a:r>
            <a:r>
              <a:rPr lang="ru-RU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так</a:t>
            </a: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.С</a:t>
            </a: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2700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88" y="1447072"/>
            <a:ext cx="4452023" cy="503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212" y="1723486"/>
            <a:ext cx="3840687" cy="4728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8653" y="3021577"/>
            <a:ext cx="3303415" cy="4181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2973981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333" y="3"/>
            <a:ext cx="12022667" cy="1357291"/>
          </a:xfrm>
        </p:spPr>
        <p:txBody>
          <a:bodyPr>
            <a:normAutofit fontScale="90000"/>
          </a:bodyPr>
          <a:lstStyle/>
          <a:p>
            <a:r>
              <a:rPr lang="ru-RU" sz="3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курсы , обеспечивающие образовательные потребности обучающихся, курсы по </a:t>
            </a:r>
            <a:r>
              <a:rPr lang="ru-RU" sz="3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ору</a:t>
            </a: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2.6.1.7.3)</a:t>
            </a:r>
            <a:r>
              <a:rPr lang="ru-RU" sz="3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ОО «Дрофа</a:t>
            </a:r>
            <a:r>
              <a:rPr lang="ru-RU" sz="3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br>
              <a:rPr lang="ru-RU" sz="3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7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естественно-научные предметы» </a:t>
            </a:r>
            <a:r>
              <a:rPr lang="ru-RU" sz="27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700" b="1" dirty="0" err="1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кулова</a:t>
            </a:r>
            <a:r>
              <a:rPr lang="ru-RU" sz="27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.А., Сонин Н.И.</a:t>
            </a:r>
            <a:endParaRPr lang="ru-RU" sz="2700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8165" y="1650381"/>
            <a:ext cx="3033247" cy="4084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99734"/>
            <a:ext cx="3055435" cy="3708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261" y="1650387"/>
            <a:ext cx="2962255" cy="363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420" y="3253914"/>
            <a:ext cx="2805887" cy="3503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269" y="3470302"/>
            <a:ext cx="2668355" cy="3070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5242826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81"/>
          <p:cNvSpPr txBox="1">
            <a:spLocks noGrp="1"/>
          </p:cNvSpPr>
          <p:nvPr>
            <p:ph type="ctrTitle" idx="4294967295"/>
          </p:nvPr>
        </p:nvSpPr>
        <p:spPr>
          <a:xfrm>
            <a:off x="914403" y="1710267"/>
            <a:ext cx="10794380" cy="3753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41294" lvl="0" indent="-241294" algn="ctr" defTabSz="1219170">
              <a:spcBef>
                <a:spcPct val="20000"/>
              </a:spcBef>
            </a:pP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ебники, прошедшие все необходимые экспертизы, поданные в 2018 году в МИНИСТЕРСТВО ПРОСВЕЩЕНИЯ</a:t>
            </a:r>
            <a:b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 ожидающие включения в ФПУ  </a:t>
            </a:r>
            <a:r>
              <a:rPr lang="ru-RU" sz="3600" kern="1200" dirty="0">
                <a:solidFill>
                  <a:srgbClr val="FFFF00"/>
                </a:solidFill>
                <a:ea typeface="+mn-ea"/>
                <a:cs typeface="+mn-cs"/>
              </a:rPr>
              <a:t/>
            </a:r>
            <a:br>
              <a:rPr lang="ru-RU" sz="3600" kern="1200" dirty="0">
                <a:solidFill>
                  <a:srgbClr val="FFFF00"/>
                </a:solidFill>
                <a:ea typeface="+mn-ea"/>
                <a:cs typeface="+mn-cs"/>
              </a:rPr>
            </a:br>
            <a:endParaRPr sz="3600" dirty="0">
              <a:solidFill>
                <a:srgbClr val="FFFF00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  <p:sp>
        <p:nvSpPr>
          <p:cNvPr id="710" name="Google Shape;710;p81"/>
          <p:cNvSpPr txBox="1"/>
          <p:nvPr/>
        </p:nvSpPr>
        <p:spPr>
          <a:xfrm>
            <a:off x="914403" y="3819835"/>
            <a:ext cx="10794380" cy="1644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600"/>
              <a:defRPr/>
            </a:pPr>
            <a:endParaRPr sz="3200" kern="0" dirty="0">
              <a:solidFill>
                <a:srgbClr val="FFFFFF"/>
              </a:solidFill>
              <a:latin typeface="Blackadder ITC" panose="04020505051007020D02" pitchFamily="82" charset="0"/>
              <a:ea typeface="Roboto"/>
              <a:cs typeface="Roboto"/>
              <a:sym typeface="Roboto"/>
            </a:endParaRPr>
          </a:p>
        </p:txBody>
      </p:sp>
      <p:sp>
        <p:nvSpPr>
          <p:cNvPr id="711" name="Google Shape;711;p81"/>
          <p:cNvSpPr txBox="1">
            <a:spLocks noGrp="1"/>
          </p:cNvSpPr>
          <p:nvPr>
            <p:ph type="ctrTitle" idx="4294967295"/>
          </p:nvPr>
        </p:nvSpPr>
        <p:spPr>
          <a:xfrm>
            <a:off x="270936" y="1286934"/>
            <a:ext cx="829735" cy="1995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 dirty="0" smtClean="0">
                <a:solidFill>
                  <a:srgbClr val="ED1064"/>
                </a:solidFill>
                <a:latin typeface="Roboto Slab Light"/>
                <a:ea typeface="Roboto Slab Light"/>
                <a:cs typeface="Roboto Slab Light"/>
                <a:sym typeface="Roboto Slab Light"/>
              </a:rPr>
              <a:t>3</a:t>
            </a:r>
            <a:endParaRPr sz="6400" dirty="0">
              <a:solidFill>
                <a:srgbClr val="ED1064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119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К </a:t>
            </a: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 биологии корпорации </a:t>
            </a:r>
            <a:b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ий учебник»</a:t>
            </a:r>
            <a:endParaRPr lang="ru-RU" sz="36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436641" y="3957917"/>
            <a:ext cx="2538448" cy="326465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7096" y="4199514"/>
            <a:ext cx="2565647" cy="317371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42741" y="4248917"/>
            <a:ext cx="2538448" cy="2973656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6028" y="1246320"/>
            <a:ext cx="11856591" cy="218950"/>
          </a:xfrm>
        </p:spPr>
        <p:txBody>
          <a:bodyPr>
            <a:normAutofit fontScale="32500" lnSpcReduction="20000"/>
          </a:bodyPr>
          <a:lstStyle/>
          <a:p>
            <a:endParaRPr lang="ru-RU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90951" y="4495479"/>
            <a:ext cx="1531984" cy="199988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787509" y="4590406"/>
            <a:ext cx="1561043" cy="1999879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364" y="1518750"/>
            <a:ext cx="2573337" cy="318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848" y="1518749"/>
            <a:ext cx="2554287" cy="317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953" y="1899684"/>
            <a:ext cx="2200275" cy="259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0642" y="1779655"/>
            <a:ext cx="2511425" cy="299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5055" y="2073440"/>
            <a:ext cx="1828427" cy="2125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264" y="2073439"/>
            <a:ext cx="1792216" cy="2083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03200" y="1704107"/>
            <a:ext cx="35995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515151"/>
                </a:solidFill>
              </a:rPr>
              <a:t>Пасечник В.В. (линейный) (5-9)</a:t>
            </a:r>
          </a:p>
        </p:txBody>
      </p:sp>
    </p:spTree>
    <p:extLst>
      <p:ext uri="{BB962C8B-B14F-4D97-AF65-F5344CB8AC3E}">
        <p14:creationId xmlns="" xmlns:p14="http://schemas.microsoft.com/office/powerpoint/2010/main" val="290540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1988427" y="2886596"/>
            <a:ext cx="4545732" cy="1130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ru-RU" sz="4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НАША</a:t>
            </a:r>
          </a:p>
          <a:p>
            <a:pPr>
              <a:lnSpc>
                <a:spcPct val="80000"/>
              </a:lnSpc>
            </a:pPr>
            <a:r>
              <a:rPr lang="ru-RU" sz="4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ОДДЕРЖКА</a:t>
            </a:r>
          </a:p>
        </p:txBody>
      </p:sp>
      <p:pic>
        <p:nvPicPr>
          <p:cNvPr id="6" name="Изображение" descr="Изображение">
            <a:extLst>
              <a:ext uri="{FF2B5EF4-FFF2-40B4-BE49-F238E27FC236}">
                <a16:creationId xmlns="" xmlns:a16="http://schemas.microsoft.com/office/drawing/2014/main" id="{43CEEF2F-C701-0145-9D58-FC6EE7DDF96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-1004"/>
          <a:stretch/>
        </p:blipFill>
        <p:spPr>
          <a:xfrm>
            <a:off x="6342789" y="1081936"/>
            <a:ext cx="3641003" cy="4551254"/>
          </a:xfrm>
          <a:prstGeom prst="roundRect">
            <a:avLst>
              <a:gd name="adj" fmla="val 0"/>
            </a:avLst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30881684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1061613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63573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74243" y="3742813"/>
            <a:ext cx="8964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С нами вы будете обеспечены дополнительными дидактическими материалами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на сайте </a:t>
            </a:r>
            <a:r>
              <a:rPr lang="en-US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rosuchebnik.ru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и на цифровой платформе </a:t>
            </a:r>
            <a:r>
              <a:rPr lang="en-US" sz="16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lecta.</a:t>
            </a:r>
            <a:r>
              <a:rPr lang="en-US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rosuchebnik.ru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274243" y="4766623"/>
            <a:ext cx="896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 нашими курсами повышения квалификации совместно с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ИРОиПК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</a:p>
          <a:p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в Университете корпорации «Российский учебник» вы оперативно сможете повышать свой профессиональный уровень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274243" y="1695384"/>
            <a:ext cx="896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Мы входим в состав крупнейшего издательского холдинга РФ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.</a:t>
            </a:r>
          </a:p>
          <a:p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Более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300 тыс. учителей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работают с нами,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15 млн. учащихся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чатся по нашим учебникам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274243" y="2719096"/>
            <a:ext cx="8964000" cy="583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 нами вы получите персональную методическую поддержку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</a:p>
          <a:p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 личном кабинете на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айте </a:t>
            </a:r>
            <a:r>
              <a:rPr lang="en-US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rosuchebnik.ru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216316" y="4641832"/>
            <a:ext cx="832783" cy="832783"/>
            <a:chOff x="976612" y="4181745"/>
            <a:chExt cx="832783" cy="832783"/>
          </a:xfrm>
        </p:grpSpPr>
        <p:sp>
          <p:nvSpPr>
            <p:cNvPr id="13" name="Freeform 61"/>
            <p:cNvSpPr>
              <a:spLocks noEditPoints="1"/>
            </p:cNvSpPr>
            <p:nvPr/>
          </p:nvSpPr>
          <p:spPr bwMode="auto">
            <a:xfrm>
              <a:off x="1127288" y="4386063"/>
              <a:ext cx="567428" cy="382596"/>
            </a:xfrm>
            <a:custGeom>
              <a:avLst/>
              <a:gdLst/>
              <a:ahLst/>
              <a:cxnLst>
                <a:cxn ang="0">
                  <a:pos x="97" y="726"/>
                </a:cxn>
                <a:cxn ang="0">
                  <a:pos x="48" y="847"/>
                </a:cxn>
                <a:cxn ang="0">
                  <a:pos x="0" y="769"/>
                </a:cxn>
                <a:cxn ang="0">
                  <a:pos x="872" y="583"/>
                </a:cxn>
                <a:cxn ang="0">
                  <a:pos x="827" y="603"/>
                </a:cxn>
                <a:cxn ang="0">
                  <a:pos x="810" y="648"/>
                </a:cxn>
                <a:cxn ang="0">
                  <a:pos x="827" y="695"/>
                </a:cxn>
                <a:cxn ang="0">
                  <a:pos x="872" y="712"/>
                </a:cxn>
                <a:cxn ang="0">
                  <a:pos x="919" y="695"/>
                </a:cxn>
                <a:cxn ang="0">
                  <a:pos x="936" y="648"/>
                </a:cxn>
                <a:cxn ang="0">
                  <a:pos x="919" y="603"/>
                </a:cxn>
                <a:cxn ang="0">
                  <a:pos x="872" y="583"/>
                </a:cxn>
                <a:cxn ang="0">
                  <a:pos x="183" y="542"/>
                </a:cxn>
                <a:cxn ang="0">
                  <a:pos x="19" y="689"/>
                </a:cxn>
                <a:cxn ang="0">
                  <a:pos x="341" y="452"/>
                </a:cxn>
                <a:cxn ang="0">
                  <a:pos x="798" y="482"/>
                </a:cxn>
                <a:cxn ang="0">
                  <a:pos x="341" y="452"/>
                </a:cxn>
                <a:cxn ang="0">
                  <a:pos x="763" y="341"/>
                </a:cxn>
                <a:cxn ang="0">
                  <a:pos x="341" y="370"/>
                </a:cxn>
                <a:cxn ang="0">
                  <a:pos x="341" y="228"/>
                </a:cxn>
                <a:cxn ang="0">
                  <a:pos x="763" y="257"/>
                </a:cxn>
                <a:cxn ang="0">
                  <a:pos x="341" y="228"/>
                </a:cxn>
                <a:cxn ang="0">
                  <a:pos x="936" y="273"/>
                </a:cxn>
                <a:cxn ang="0">
                  <a:pos x="944" y="183"/>
                </a:cxn>
                <a:cxn ang="0">
                  <a:pos x="960" y="91"/>
                </a:cxn>
                <a:cxn ang="0">
                  <a:pos x="1116" y="242"/>
                </a:cxn>
                <a:cxn ang="0">
                  <a:pos x="1128" y="769"/>
                </a:cxn>
                <a:cxn ang="0">
                  <a:pos x="987" y="839"/>
                </a:cxn>
                <a:cxn ang="0">
                  <a:pos x="917" y="864"/>
                </a:cxn>
                <a:cxn ang="0">
                  <a:pos x="872" y="771"/>
                </a:cxn>
                <a:cxn ang="0">
                  <a:pos x="806" y="839"/>
                </a:cxn>
                <a:cxn ang="0">
                  <a:pos x="784" y="769"/>
                </a:cxn>
                <a:cxn ang="0">
                  <a:pos x="197" y="691"/>
                </a:cxn>
                <a:cxn ang="0">
                  <a:pos x="753" y="669"/>
                </a:cxn>
                <a:cxn ang="0">
                  <a:pos x="755" y="616"/>
                </a:cxn>
                <a:cxn ang="0">
                  <a:pos x="786" y="562"/>
                </a:cxn>
                <a:cxn ang="0">
                  <a:pos x="841" y="531"/>
                </a:cxn>
                <a:cxn ang="0">
                  <a:pos x="905" y="531"/>
                </a:cxn>
                <a:cxn ang="0">
                  <a:pos x="960" y="562"/>
                </a:cxn>
                <a:cxn ang="0">
                  <a:pos x="991" y="616"/>
                </a:cxn>
                <a:cxn ang="0">
                  <a:pos x="993" y="669"/>
                </a:cxn>
                <a:cxn ang="0">
                  <a:pos x="1050" y="691"/>
                </a:cxn>
                <a:cxn ang="0">
                  <a:pos x="915" y="312"/>
                </a:cxn>
                <a:cxn ang="0">
                  <a:pos x="895" y="290"/>
                </a:cxn>
                <a:cxn ang="0">
                  <a:pos x="329" y="169"/>
                </a:cxn>
                <a:cxn ang="0">
                  <a:pos x="224" y="0"/>
                </a:cxn>
                <a:cxn ang="0">
                  <a:pos x="269" y="19"/>
                </a:cxn>
                <a:cxn ang="0">
                  <a:pos x="277" y="164"/>
                </a:cxn>
                <a:cxn ang="0">
                  <a:pos x="230" y="402"/>
                </a:cxn>
                <a:cxn ang="0">
                  <a:pos x="43" y="478"/>
                </a:cxn>
                <a:cxn ang="0">
                  <a:pos x="89" y="234"/>
                </a:cxn>
                <a:cxn ang="0">
                  <a:pos x="169" y="9"/>
                </a:cxn>
                <a:cxn ang="0">
                  <a:pos x="224" y="0"/>
                </a:cxn>
              </a:cxnLst>
              <a:rect l="0" t="0" r="r" b="b"/>
              <a:pathLst>
                <a:path w="1128" h="864">
                  <a:moveTo>
                    <a:pt x="33" y="710"/>
                  </a:moveTo>
                  <a:lnTo>
                    <a:pt x="97" y="726"/>
                  </a:lnTo>
                  <a:lnTo>
                    <a:pt x="97" y="792"/>
                  </a:lnTo>
                  <a:lnTo>
                    <a:pt x="48" y="847"/>
                  </a:lnTo>
                  <a:lnTo>
                    <a:pt x="19" y="839"/>
                  </a:lnTo>
                  <a:lnTo>
                    <a:pt x="0" y="769"/>
                  </a:lnTo>
                  <a:lnTo>
                    <a:pt x="33" y="710"/>
                  </a:lnTo>
                  <a:close/>
                  <a:moveTo>
                    <a:pt x="872" y="583"/>
                  </a:moveTo>
                  <a:lnTo>
                    <a:pt x="849" y="589"/>
                  </a:lnTo>
                  <a:lnTo>
                    <a:pt x="827" y="603"/>
                  </a:lnTo>
                  <a:lnTo>
                    <a:pt x="813" y="624"/>
                  </a:lnTo>
                  <a:lnTo>
                    <a:pt x="810" y="648"/>
                  </a:lnTo>
                  <a:lnTo>
                    <a:pt x="813" y="673"/>
                  </a:lnTo>
                  <a:lnTo>
                    <a:pt x="827" y="695"/>
                  </a:lnTo>
                  <a:lnTo>
                    <a:pt x="849" y="708"/>
                  </a:lnTo>
                  <a:lnTo>
                    <a:pt x="872" y="712"/>
                  </a:lnTo>
                  <a:lnTo>
                    <a:pt x="897" y="708"/>
                  </a:lnTo>
                  <a:lnTo>
                    <a:pt x="919" y="695"/>
                  </a:lnTo>
                  <a:lnTo>
                    <a:pt x="933" y="673"/>
                  </a:lnTo>
                  <a:lnTo>
                    <a:pt x="936" y="648"/>
                  </a:lnTo>
                  <a:lnTo>
                    <a:pt x="933" y="624"/>
                  </a:lnTo>
                  <a:lnTo>
                    <a:pt x="919" y="603"/>
                  </a:lnTo>
                  <a:lnTo>
                    <a:pt x="897" y="589"/>
                  </a:lnTo>
                  <a:lnTo>
                    <a:pt x="872" y="583"/>
                  </a:lnTo>
                  <a:close/>
                  <a:moveTo>
                    <a:pt x="43" y="511"/>
                  </a:moveTo>
                  <a:lnTo>
                    <a:pt x="183" y="542"/>
                  </a:lnTo>
                  <a:lnTo>
                    <a:pt x="125" y="714"/>
                  </a:lnTo>
                  <a:lnTo>
                    <a:pt x="19" y="689"/>
                  </a:lnTo>
                  <a:lnTo>
                    <a:pt x="43" y="511"/>
                  </a:lnTo>
                  <a:close/>
                  <a:moveTo>
                    <a:pt x="341" y="452"/>
                  </a:moveTo>
                  <a:lnTo>
                    <a:pt x="798" y="452"/>
                  </a:lnTo>
                  <a:lnTo>
                    <a:pt x="798" y="482"/>
                  </a:lnTo>
                  <a:lnTo>
                    <a:pt x="341" y="482"/>
                  </a:lnTo>
                  <a:lnTo>
                    <a:pt x="341" y="452"/>
                  </a:lnTo>
                  <a:close/>
                  <a:moveTo>
                    <a:pt x="341" y="341"/>
                  </a:moveTo>
                  <a:lnTo>
                    <a:pt x="763" y="341"/>
                  </a:lnTo>
                  <a:lnTo>
                    <a:pt x="763" y="370"/>
                  </a:lnTo>
                  <a:lnTo>
                    <a:pt x="341" y="370"/>
                  </a:lnTo>
                  <a:lnTo>
                    <a:pt x="341" y="341"/>
                  </a:lnTo>
                  <a:close/>
                  <a:moveTo>
                    <a:pt x="341" y="228"/>
                  </a:moveTo>
                  <a:lnTo>
                    <a:pt x="763" y="228"/>
                  </a:lnTo>
                  <a:lnTo>
                    <a:pt x="763" y="257"/>
                  </a:lnTo>
                  <a:lnTo>
                    <a:pt x="341" y="257"/>
                  </a:lnTo>
                  <a:lnTo>
                    <a:pt x="341" y="228"/>
                  </a:lnTo>
                  <a:close/>
                  <a:moveTo>
                    <a:pt x="944" y="183"/>
                  </a:moveTo>
                  <a:lnTo>
                    <a:pt x="936" y="273"/>
                  </a:lnTo>
                  <a:lnTo>
                    <a:pt x="1032" y="269"/>
                  </a:lnTo>
                  <a:lnTo>
                    <a:pt x="944" y="183"/>
                  </a:lnTo>
                  <a:close/>
                  <a:moveTo>
                    <a:pt x="337" y="91"/>
                  </a:moveTo>
                  <a:lnTo>
                    <a:pt x="960" y="91"/>
                  </a:lnTo>
                  <a:lnTo>
                    <a:pt x="972" y="103"/>
                  </a:lnTo>
                  <a:lnTo>
                    <a:pt x="1116" y="242"/>
                  </a:lnTo>
                  <a:lnTo>
                    <a:pt x="1128" y="253"/>
                  </a:lnTo>
                  <a:lnTo>
                    <a:pt x="1128" y="769"/>
                  </a:lnTo>
                  <a:lnTo>
                    <a:pt x="962" y="769"/>
                  </a:lnTo>
                  <a:lnTo>
                    <a:pt x="987" y="839"/>
                  </a:lnTo>
                  <a:lnTo>
                    <a:pt x="940" y="839"/>
                  </a:lnTo>
                  <a:lnTo>
                    <a:pt x="917" y="864"/>
                  </a:lnTo>
                  <a:lnTo>
                    <a:pt x="874" y="771"/>
                  </a:lnTo>
                  <a:lnTo>
                    <a:pt x="872" y="771"/>
                  </a:lnTo>
                  <a:lnTo>
                    <a:pt x="829" y="864"/>
                  </a:lnTo>
                  <a:lnTo>
                    <a:pt x="806" y="839"/>
                  </a:lnTo>
                  <a:lnTo>
                    <a:pt x="759" y="839"/>
                  </a:lnTo>
                  <a:lnTo>
                    <a:pt x="784" y="769"/>
                  </a:lnTo>
                  <a:lnTo>
                    <a:pt x="171" y="769"/>
                  </a:lnTo>
                  <a:lnTo>
                    <a:pt x="197" y="691"/>
                  </a:lnTo>
                  <a:lnTo>
                    <a:pt x="757" y="691"/>
                  </a:lnTo>
                  <a:lnTo>
                    <a:pt x="753" y="669"/>
                  </a:lnTo>
                  <a:lnTo>
                    <a:pt x="751" y="648"/>
                  </a:lnTo>
                  <a:lnTo>
                    <a:pt x="755" y="616"/>
                  </a:lnTo>
                  <a:lnTo>
                    <a:pt x="767" y="587"/>
                  </a:lnTo>
                  <a:lnTo>
                    <a:pt x="786" y="562"/>
                  </a:lnTo>
                  <a:lnTo>
                    <a:pt x="812" y="542"/>
                  </a:lnTo>
                  <a:lnTo>
                    <a:pt x="841" y="531"/>
                  </a:lnTo>
                  <a:lnTo>
                    <a:pt x="872" y="527"/>
                  </a:lnTo>
                  <a:lnTo>
                    <a:pt x="905" y="531"/>
                  </a:lnTo>
                  <a:lnTo>
                    <a:pt x="934" y="542"/>
                  </a:lnTo>
                  <a:lnTo>
                    <a:pt x="960" y="562"/>
                  </a:lnTo>
                  <a:lnTo>
                    <a:pt x="979" y="587"/>
                  </a:lnTo>
                  <a:lnTo>
                    <a:pt x="991" y="616"/>
                  </a:lnTo>
                  <a:lnTo>
                    <a:pt x="995" y="648"/>
                  </a:lnTo>
                  <a:lnTo>
                    <a:pt x="993" y="669"/>
                  </a:lnTo>
                  <a:lnTo>
                    <a:pt x="987" y="691"/>
                  </a:lnTo>
                  <a:lnTo>
                    <a:pt x="1050" y="691"/>
                  </a:lnTo>
                  <a:lnTo>
                    <a:pt x="1050" y="306"/>
                  </a:lnTo>
                  <a:lnTo>
                    <a:pt x="915" y="312"/>
                  </a:lnTo>
                  <a:lnTo>
                    <a:pt x="893" y="312"/>
                  </a:lnTo>
                  <a:lnTo>
                    <a:pt x="895" y="290"/>
                  </a:lnTo>
                  <a:lnTo>
                    <a:pt x="905" y="169"/>
                  </a:lnTo>
                  <a:lnTo>
                    <a:pt x="329" y="169"/>
                  </a:lnTo>
                  <a:lnTo>
                    <a:pt x="337" y="91"/>
                  </a:lnTo>
                  <a:close/>
                  <a:moveTo>
                    <a:pt x="224" y="0"/>
                  </a:moveTo>
                  <a:lnTo>
                    <a:pt x="248" y="5"/>
                  </a:lnTo>
                  <a:lnTo>
                    <a:pt x="269" y="19"/>
                  </a:lnTo>
                  <a:lnTo>
                    <a:pt x="289" y="37"/>
                  </a:lnTo>
                  <a:lnTo>
                    <a:pt x="277" y="164"/>
                  </a:lnTo>
                  <a:lnTo>
                    <a:pt x="257" y="287"/>
                  </a:lnTo>
                  <a:lnTo>
                    <a:pt x="230" y="402"/>
                  </a:lnTo>
                  <a:lnTo>
                    <a:pt x="199" y="513"/>
                  </a:lnTo>
                  <a:lnTo>
                    <a:pt x="43" y="478"/>
                  </a:lnTo>
                  <a:lnTo>
                    <a:pt x="62" y="353"/>
                  </a:lnTo>
                  <a:lnTo>
                    <a:pt x="89" y="234"/>
                  </a:lnTo>
                  <a:lnTo>
                    <a:pt x="127" y="119"/>
                  </a:lnTo>
                  <a:lnTo>
                    <a:pt x="169" y="9"/>
                  </a:lnTo>
                  <a:lnTo>
                    <a:pt x="199" y="1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2D34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976612" y="4181745"/>
              <a:ext cx="832783" cy="832783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216316" y="1570593"/>
            <a:ext cx="832783" cy="832783"/>
            <a:chOff x="976612" y="5091766"/>
            <a:chExt cx="832783" cy="832783"/>
          </a:xfrm>
        </p:grpSpPr>
        <p:sp>
          <p:nvSpPr>
            <p:cNvPr id="15" name="Овал 14"/>
            <p:cNvSpPr/>
            <p:nvPr/>
          </p:nvSpPr>
          <p:spPr>
            <a:xfrm>
              <a:off x="976612" y="5091766"/>
              <a:ext cx="832783" cy="832783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33"/>
            <p:cNvSpPr>
              <a:spLocks noEditPoints="1"/>
            </p:cNvSpPr>
            <p:nvPr/>
          </p:nvSpPr>
          <p:spPr bwMode="auto">
            <a:xfrm>
              <a:off x="1107726" y="5342059"/>
              <a:ext cx="618215" cy="367229"/>
            </a:xfrm>
            <a:custGeom>
              <a:avLst/>
              <a:gdLst/>
              <a:ahLst/>
              <a:cxnLst>
                <a:cxn ang="0">
                  <a:pos x="64" y="278"/>
                </a:cxn>
                <a:cxn ang="0">
                  <a:pos x="188" y="336"/>
                </a:cxn>
                <a:cxn ang="0">
                  <a:pos x="228" y="262"/>
                </a:cxn>
                <a:cxn ang="0">
                  <a:pos x="266" y="336"/>
                </a:cxn>
                <a:cxn ang="0">
                  <a:pos x="326" y="296"/>
                </a:cxn>
                <a:cxn ang="0">
                  <a:pos x="152" y="418"/>
                </a:cxn>
                <a:cxn ang="0">
                  <a:pos x="290" y="98"/>
                </a:cxn>
                <a:cxn ang="0">
                  <a:pos x="170" y="82"/>
                </a:cxn>
                <a:cxn ang="0">
                  <a:pos x="162" y="116"/>
                </a:cxn>
                <a:cxn ang="0">
                  <a:pos x="142" y="138"/>
                </a:cxn>
                <a:cxn ang="0">
                  <a:pos x="188" y="222"/>
                </a:cxn>
                <a:cxn ang="0">
                  <a:pos x="294" y="174"/>
                </a:cxn>
                <a:cxn ang="0">
                  <a:pos x="312" y="114"/>
                </a:cxn>
                <a:cxn ang="0">
                  <a:pos x="290" y="116"/>
                </a:cxn>
                <a:cxn ang="0">
                  <a:pos x="140" y="60"/>
                </a:cxn>
                <a:cxn ang="0">
                  <a:pos x="134" y="164"/>
                </a:cxn>
                <a:cxn ang="0">
                  <a:pos x="212" y="252"/>
                </a:cxn>
                <a:cxn ang="0">
                  <a:pos x="312" y="180"/>
                </a:cxn>
                <a:cxn ang="0">
                  <a:pos x="320" y="78"/>
                </a:cxn>
                <a:cxn ang="0">
                  <a:pos x="214" y="6"/>
                </a:cxn>
                <a:cxn ang="0">
                  <a:pos x="846" y="286"/>
                </a:cxn>
                <a:cxn ang="0">
                  <a:pos x="982" y="334"/>
                </a:cxn>
                <a:cxn ang="0">
                  <a:pos x="850" y="410"/>
                </a:cxn>
                <a:cxn ang="0">
                  <a:pos x="674" y="290"/>
                </a:cxn>
                <a:cxn ang="0">
                  <a:pos x="796" y="316"/>
                </a:cxn>
                <a:cxn ang="0">
                  <a:pos x="876" y="58"/>
                </a:cxn>
                <a:cxn ang="0">
                  <a:pos x="888" y="172"/>
                </a:cxn>
                <a:cxn ang="0">
                  <a:pos x="814" y="278"/>
                </a:cxn>
                <a:cxn ang="0">
                  <a:pos x="692" y="208"/>
                </a:cxn>
                <a:cxn ang="0">
                  <a:pos x="678" y="112"/>
                </a:cxn>
                <a:cxn ang="0">
                  <a:pos x="746" y="12"/>
                </a:cxn>
                <a:cxn ang="0">
                  <a:pos x="710" y="116"/>
                </a:cxn>
                <a:cxn ang="0">
                  <a:pos x="836" y="92"/>
                </a:cxn>
                <a:cxn ang="0">
                  <a:pos x="850" y="128"/>
                </a:cxn>
                <a:cxn ang="0">
                  <a:pos x="874" y="130"/>
                </a:cxn>
                <a:cxn ang="0">
                  <a:pos x="856" y="198"/>
                </a:cxn>
                <a:cxn ang="0">
                  <a:pos x="754" y="264"/>
                </a:cxn>
                <a:cxn ang="0">
                  <a:pos x="702" y="194"/>
                </a:cxn>
                <a:cxn ang="0">
                  <a:pos x="694" y="120"/>
                </a:cxn>
                <a:cxn ang="0">
                  <a:pos x="502" y="390"/>
                </a:cxn>
                <a:cxn ang="0">
                  <a:pos x="668" y="348"/>
                </a:cxn>
                <a:cxn ang="0">
                  <a:pos x="690" y="450"/>
                </a:cxn>
                <a:cxn ang="0">
                  <a:pos x="286" y="444"/>
                </a:cxn>
                <a:cxn ang="0">
                  <a:pos x="358" y="334"/>
                </a:cxn>
                <a:cxn ang="0">
                  <a:pos x="414" y="192"/>
                </a:cxn>
                <a:cxn ang="0">
                  <a:pos x="482" y="296"/>
                </a:cxn>
                <a:cxn ang="0">
                  <a:pos x="580" y="228"/>
                </a:cxn>
                <a:cxn ang="0">
                  <a:pos x="606" y="170"/>
                </a:cxn>
                <a:cxn ang="0">
                  <a:pos x="580" y="144"/>
                </a:cxn>
                <a:cxn ang="0">
                  <a:pos x="548" y="108"/>
                </a:cxn>
                <a:cxn ang="0">
                  <a:pos x="464" y="4"/>
                </a:cxn>
                <a:cxn ang="0">
                  <a:pos x="368" y="102"/>
                </a:cxn>
                <a:cxn ang="0">
                  <a:pos x="344" y="328"/>
                </a:cxn>
                <a:cxn ang="0">
                  <a:pos x="440" y="288"/>
                </a:cxn>
                <a:cxn ang="0">
                  <a:pos x="546" y="302"/>
                </a:cxn>
                <a:cxn ang="0">
                  <a:pos x="598" y="296"/>
                </a:cxn>
                <a:cxn ang="0">
                  <a:pos x="638" y="180"/>
                </a:cxn>
                <a:cxn ang="0">
                  <a:pos x="586" y="26"/>
                </a:cxn>
                <a:cxn ang="0">
                  <a:pos x="464" y="4"/>
                </a:cxn>
              </a:cxnLst>
              <a:rect l="0" t="0" r="r" b="b"/>
              <a:pathLst>
                <a:path w="1006" h="466">
                  <a:moveTo>
                    <a:pt x="0" y="376"/>
                  </a:moveTo>
                  <a:lnTo>
                    <a:pt x="0" y="368"/>
                  </a:lnTo>
                  <a:lnTo>
                    <a:pt x="0" y="368"/>
                  </a:lnTo>
                  <a:lnTo>
                    <a:pt x="2" y="348"/>
                  </a:lnTo>
                  <a:lnTo>
                    <a:pt x="10" y="330"/>
                  </a:lnTo>
                  <a:lnTo>
                    <a:pt x="18" y="312"/>
                  </a:lnTo>
                  <a:lnTo>
                    <a:pt x="32" y="298"/>
                  </a:lnTo>
                  <a:lnTo>
                    <a:pt x="32" y="298"/>
                  </a:lnTo>
                  <a:lnTo>
                    <a:pt x="42" y="288"/>
                  </a:lnTo>
                  <a:lnTo>
                    <a:pt x="52" y="282"/>
                  </a:lnTo>
                  <a:lnTo>
                    <a:pt x="64" y="278"/>
                  </a:lnTo>
                  <a:lnTo>
                    <a:pt x="76" y="276"/>
                  </a:lnTo>
                  <a:lnTo>
                    <a:pt x="102" y="270"/>
                  </a:lnTo>
                  <a:lnTo>
                    <a:pt x="116" y="26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40" y="256"/>
                  </a:lnTo>
                  <a:lnTo>
                    <a:pt x="152" y="248"/>
                  </a:lnTo>
                  <a:lnTo>
                    <a:pt x="152" y="248"/>
                  </a:lnTo>
                  <a:lnTo>
                    <a:pt x="164" y="278"/>
                  </a:lnTo>
                  <a:lnTo>
                    <a:pt x="174" y="308"/>
                  </a:lnTo>
                  <a:lnTo>
                    <a:pt x="188" y="336"/>
                  </a:lnTo>
                  <a:lnTo>
                    <a:pt x="206" y="364"/>
                  </a:lnTo>
                  <a:lnTo>
                    <a:pt x="212" y="294"/>
                  </a:lnTo>
                  <a:lnTo>
                    <a:pt x="212" y="294"/>
                  </a:lnTo>
                  <a:lnTo>
                    <a:pt x="212" y="292"/>
                  </a:lnTo>
                  <a:lnTo>
                    <a:pt x="210" y="290"/>
                  </a:lnTo>
                  <a:lnTo>
                    <a:pt x="208" y="264"/>
                  </a:lnTo>
                  <a:lnTo>
                    <a:pt x="208" y="264"/>
                  </a:lnTo>
                  <a:lnTo>
                    <a:pt x="210" y="262"/>
                  </a:lnTo>
                  <a:lnTo>
                    <a:pt x="212" y="260"/>
                  </a:lnTo>
                  <a:lnTo>
                    <a:pt x="212" y="260"/>
                  </a:lnTo>
                  <a:lnTo>
                    <a:pt x="228" y="262"/>
                  </a:lnTo>
                  <a:lnTo>
                    <a:pt x="242" y="260"/>
                  </a:lnTo>
                  <a:lnTo>
                    <a:pt x="242" y="260"/>
                  </a:lnTo>
                  <a:lnTo>
                    <a:pt x="246" y="262"/>
                  </a:lnTo>
                  <a:lnTo>
                    <a:pt x="246" y="264"/>
                  </a:lnTo>
                  <a:lnTo>
                    <a:pt x="244" y="290"/>
                  </a:lnTo>
                  <a:lnTo>
                    <a:pt x="244" y="290"/>
                  </a:lnTo>
                  <a:lnTo>
                    <a:pt x="244" y="292"/>
                  </a:lnTo>
                  <a:lnTo>
                    <a:pt x="242" y="294"/>
                  </a:lnTo>
                  <a:lnTo>
                    <a:pt x="248" y="364"/>
                  </a:lnTo>
                  <a:lnTo>
                    <a:pt x="248" y="364"/>
                  </a:lnTo>
                  <a:lnTo>
                    <a:pt x="266" y="336"/>
                  </a:lnTo>
                  <a:lnTo>
                    <a:pt x="280" y="308"/>
                  </a:lnTo>
                  <a:lnTo>
                    <a:pt x="292" y="278"/>
                  </a:lnTo>
                  <a:lnTo>
                    <a:pt x="302" y="248"/>
                  </a:lnTo>
                  <a:lnTo>
                    <a:pt x="302" y="248"/>
                  </a:lnTo>
                  <a:lnTo>
                    <a:pt x="314" y="256"/>
                  </a:lnTo>
                  <a:lnTo>
                    <a:pt x="326" y="262"/>
                  </a:lnTo>
                  <a:lnTo>
                    <a:pt x="326" y="262"/>
                  </a:lnTo>
                  <a:lnTo>
                    <a:pt x="336" y="266"/>
                  </a:lnTo>
                  <a:lnTo>
                    <a:pt x="336" y="266"/>
                  </a:lnTo>
                  <a:lnTo>
                    <a:pt x="330" y="280"/>
                  </a:lnTo>
                  <a:lnTo>
                    <a:pt x="326" y="296"/>
                  </a:lnTo>
                  <a:lnTo>
                    <a:pt x="318" y="312"/>
                  </a:lnTo>
                  <a:lnTo>
                    <a:pt x="308" y="328"/>
                  </a:lnTo>
                  <a:lnTo>
                    <a:pt x="290" y="356"/>
                  </a:lnTo>
                  <a:lnTo>
                    <a:pt x="290" y="356"/>
                  </a:lnTo>
                  <a:lnTo>
                    <a:pt x="262" y="384"/>
                  </a:lnTo>
                  <a:lnTo>
                    <a:pt x="236" y="414"/>
                  </a:lnTo>
                  <a:lnTo>
                    <a:pt x="230" y="420"/>
                  </a:lnTo>
                  <a:lnTo>
                    <a:pt x="228" y="420"/>
                  </a:lnTo>
                  <a:lnTo>
                    <a:pt x="228" y="420"/>
                  </a:lnTo>
                  <a:lnTo>
                    <a:pt x="190" y="420"/>
                  </a:lnTo>
                  <a:lnTo>
                    <a:pt x="152" y="418"/>
                  </a:lnTo>
                  <a:lnTo>
                    <a:pt x="116" y="414"/>
                  </a:lnTo>
                  <a:lnTo>
                    <a:pt x="84" y="410"/>
                  </a:lnTo>
                  <a:lnTo>
                    <a:pt x="54" y="404"/>
                  </a:lnTo>
                  <a:lnTo>
                    <a:pt x="30" y="396"/>
                  </a:lnTo>
                  <a:lnTo>
                    <a:pt x="12" y="388"/>
                  </a:lnTo>
                  <a:lnTo>
                    <a:pt x="4" y="382"/>
                  </a:lnTo>
                  <a:lnTo>
                    <a:pt x="0" y="376"/>
                  </a:lnTo>
                  <a:lnTo>
                    <a:pt x="0" y="376"/>
                  </a:lnTo>
                  <a:close/>
                  <a:moveTo>
                    <a:pt x="290" y="102"/>
                  </a:moveTo>
                  <a:lnTo>
                    <a:pt x="290" y="102"/>
                  </a:lnTo>
                  <a:lnTo>
                    <a:pt x="290" y="98"/>
                  </a:lnTo>
                  <a:lnTo>
                    <a:pt x="288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74" y="98"/>
                  </a:lnTo>
                  <a:lnTo>
                    <a:pt x="260" y="96"/>
                  </a:lnTo>
                  <a:lnTo>
                    <a:pt x="230" y="92"/>
                  </a:lnTo>
                  <a:lnTo>
                    <a:pt x="200" y="86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4" y="80"/>
                  </a:lnTo>
                  <a:lnTo>
                    <a:pt x="170" y="82"/>
                  </a:lnTo>
                  <a:lnTo>
                    <a:pt x="170" y="82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6" y="98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4" y="112"/>
                  </a:lnTo>
                  <a:lnTo>
                    <a:pt x="164" y="112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6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4" y="106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6"/>
                  </a:lnTo>
                  <a:lnTo>
                    <a:pt x="144" y="114"/>
                  </a:lnTo>
                  <a:lnTo>
                    <a:pt x="142" y="124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4" y="150"/>
                  </a:lnTo>
                  <a:lnTo>
                    <a:pt x="148" y="162"/>
                  </a:lnTo>
                  <a:lnTo>
                    <a:pt x="152" y="168"/>
                  </a:lnTo>
                  <a:lnTo>
                    <a:pt x="156" y="170"/>
                  </a:lnTo>
                  <a:lnTo>
                    <a:pt x="156" y="170"/>
                  </a:lnTo>
                  <a:lnTo>
                    <a:pt x="158" y="172"/>
                  </a:lnTo>
                  <a:lnTo>
                    <a:pt x="160" y="174"/>
                  </a:lnTo>
                  <a:lnTo>
                    <a:pt x="160" y="174"/>
                  </a:lnTo>
                  <a:lnTo>
                    <a:pt x="166" y="192"/>
                  </a:lnTo>
                  <a:lnTo>
                    <a:pt x="176" y="208"/>
                  </a:lnTo>
                  <a:lnTo>
                    <a:pt x="188" y="222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16" y="238"/>
                  </a:lnTo>
                  <a:lnTo>
                    <a:pt x="226" y="240"/>
                  </a:lnTo>
                  <a:lnTo>
                    <a:pt x="238" y="240"/>
                  </a:lnTo>
                  <a:lnTo>
                    <a:pt x="250" y="234"/>
                  </a:lnTo>
                  <a:lnTo>
                    <a:pt x="250" y="234"/>
                  </a:lnTo>
                  <a:lnTo>
                    <a:pt x="266" y="224"/>
                  </a:lnTo>
                  <a:lnTo>
                    <a:pt x="278" y="210"/>
                  </a:lnTo>
                  <a:lnTo>
                    <a:pt x="288" y="192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6" y="172"/>
                  </a:lnTo>
                  <a:lnTo>
                    <a:pt x="298" y="170"/>
                  </a:lnTo>
                  <a:lnTo>
                    <a:pt x="298" y="170"/>
                  </a:lnTo>
                  <a:lnTo>
                    <a:pt x="302" y="168"/>
                  </a:lnTo>
                  <a:lnTo>
                    <a:pt x="306" y="162"/>
                  </a:lnTo>
                  <a:lnTo>
                    <a:pt x="310" y="150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24"/>
                  </a:lnTo>
                  <a:lnTo>
                    <a:pt x="312" y="114"/>
                  </a:lnTo>
                  <a:lnTo>
                    <a:pt x="308" y="106"/>
                  </a:lnTo>
                  <a:lnTo>
                    <a:pt x="306" y="104"/>
                  </a:lnTo>
                  <a:lnTo>
                    <a:pt x="304" y="104"/>
                  </a:lnTo>
                  <a:lnTo>
                    <a:pt x="304" y="104"/>
                  </a:lnTo>
                  <a:lnTo>
                    <a:pt x="300" y="106"/>
                  </a:lnTo>
                  <a:lnTo>
                    <a:pt x="296" y="114"/>
                  </a:lnTo>
                  <a:lnTo>
                    <a:pt x="296" y="114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0" y="116"/>
                  </a:lnTo>
                  <a:lnTo>
                    <a:pt x="290" y="116"/>
                  </a:lnTo>
                  <a:lnTo>
                    <a:pt x="290" y="102"/>
                  </a:lnTo>
                  <a:lnTo>
                    <a:pt x="290" y="102"/>
                  </a:lnTo>
                  <a:close/>
                  <a:moveTo>
                    <a:pt x="186" y="18"/>
                  </a:moveTo>
                  <a:lnTo>
                    <a:pt x="186" y="18"/>
                  </a:lnTo>
                  <a:lnTo>
                    <a:pt x="178" y="20"/>
                  </a:lnTo>
                  <a:lnTo>
                    <a:pt x="170" y="22"/>
                  </a:lnTo>
                  <a:lnTo>
                    <a:pt x="158" y="28"/>
                  </a:lnTo>
                  <a:lnTo>
                    <a:pt x="150" y="38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60"/>
                  </a:lnTo>
                  <a:lnTo>
                    <a:pt x="136" y="72"/>
                  </a:lnTo>
                  <a:lnTo>
                    <a:pt x="136" y="86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2" y="106"/>
                  </a:lnTo>
                  <a:lnTo>
                    <a:pt x="128" y="118"/>
                  </a:lnTo>
                  <a:lnTo>
                    <a:pt x="128" y="13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30" y="150"/>
                  </a:lnTo>
                  <a:lnTo>
                    <a:pt x="134" y="164"/>
                  </a:lnTo>
                  <a:lnTo>
                    <a:pt x="140" y="174"/>
                  </a:lnTo>
                  <a:lnTo>
                    <a:pt x="144" y="180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50" y="192"/>
                  </a:lnTo>
                  <a:lnTo>
                    <a:pt x="154" y="202"/>
                  </a:lnTo>
                  <a:lnTo>
                    <a:pt x="166" y="218"/>
                  </a:lnTo>
                  <a:lnTo>
                    <a:pt x="180" y="234"/>
                  </a:lnTo>
                  <a:lnTo>
                    <a:pt x="198" y="246"/>
                  </a:lnTo>
                  <a:lnTo>
                    <a:pt x="198" y="246"/>
                  </a:lnTo>
                  <a:lnTo>
                    <a:pt x="212" y="252"/>
                  </a:lnTo>
                  <a:lnTo>
                    <a:pt x="226" y="254"/>
                  </a:lnTo>
                  <a:lnTo>
                    <a:pt x="240" y="252"/>
                  </a:lnTo>
                  <a:lnTo>
                    <a:pt x="256" y="246"/>
                  </a:lnTo>
                  <a:lnTo>
                    <a:pt x="256" y="246"/>
                  </a:lnTo>
                  <a:lnTo>
                    <a:pt x="274" y="234"/>
                  </a:lnTo>
                  <a:lnTo>
                    <a:pt x="288" y="220"/>
                  </a:lnTo>
                  <a:lnTo>
                    <a:pt x="300" y="202"/>
                  </a:lnTo>
                  <a:lnTo>
                    <a:pt x="304" y="192"/>
                  </a:lnTo>
                  <a:lnTo>
                    <a:pt x="308" y="182"/>
                  </a:lnTo>
                  <a:lnTo>
                    <a:pt x="308" y="182"/>
                  </a:lnTo>
                  <a:lnTo>
                    <a:pt x="312" y="180"/>
                  </a:lnTo>
                  <a:lnTo>
                    <a:pt x="316" y="174"/>
                  </a:lnTo>
                  <a:lnTo>
                    <a:pt x="320" y="164"/>
                  </a:lnTo>
                  <a:lnTo>
                    <a:pt x="324" y="150"/>
                  </a:lnTo>
                  <a:lnTo>
                    <a:pt x="326" y="140"/>
                  </a:lnTo>
                  <a:lnTo>
                    <a:pt x="326" y="140"/>
                  </a:lnTo>
                  <a:lnTo>
                    <a:pt x="326" y="130"/>
                  </a:lnTo>
                  <a:lnTo>
                    <a:pt x="326" y="118"/>
                  </a:lnTo>
                  <a:lnTo>
                    <a:pt x="324" y="106"/>
                  </a:lnTo>
                  <a:lnTo>
                    <a:pt x="320" y="98"/>
                  </a:lnTo>
                  <a:lnTo>
                    <a:pt x="320" y="98"/>
                  </a:lnTo>
                  <a:lnTo>
                    <a:pt x="320" y="78"/>
                  </a:lnTo>
                  <a:lnTo>
                    <a:pt x="316" y="60"/>
                  </a:lnTo>
                  <a:lnTo>
                    <a:pt x="310" y="42"/>
                  </a:lnTo>
                  <a:lnTo>
                    <a:pt x="306" y="36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88" y="20"/>
                  </a:lnTo>
                  <a:lnTo>
                    <a:pt x="274" y="12"/>
                  </a:lnTo>
                  <a:lnTo>
                    <a:pt x="258" y="8"/>
                  </a:lnTo>
                  <a:lnTo>
                    <a:pt x="244" y="6"/>
                  </a:lnTo>
                  <a:lnTo>
                    <a:pt x="228" y="4"/>
                  </a:lnTo>
                  <a:lnTo>
                    <a:pt x="214" y="6"/>
                  </a:lnTo>
                  <a:lnTo>
                    <a:pt x="202" y="10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0" y="18"/>
                  </a:lnTo>
                  <a:lnTo>
                    <a:pt x="186" y="18"/>
                  </a:lnTo>
                  <a:lnTo>
                    <a:pt x="186" y="18"/>
                  </a:lnTo>
                  <a:close/>
                  <a:moveTo>
                    <a:pt x="810" y="314"/>
                  </a:moveTo>
                  <a:lnTo>
                    <a:pt x="810" y="314"/>
                  </a:lnTo>
                  <a:lnTo>
                    <a:pt x="824" y="306"/>
                  </a:lnTo>
                  <a:lnTo>
                    <a:pt x="836" y="298"/>
                  </a:lnTo>
                  <a:lnTo>
                    <a:pt x="846" y="286"/>
                  </a:lnTo>
                  <a:lnTo>
                    <a:pt x="856" y="274"/>
                  </a:lnTo>
                  <a:lnTo>
                    <a:pt x="856" y="274"/>
                  </a:lnTo>
                  <a:lnTo>
                    <a:pt x="866" y="282"/>
                  </a:lnTo>
                  <a:lnTo>
                    <a:pt x="878" y="288"/>
                  </a:lnTo>
                  <a:lnTo>
                    <a:pt x="902" y="294"/>
                  </a:lnTo>
                  <a:lnTo>
                    <a:pt x="926" y="302"/>
                  </a:lnTo>
                  <a:lnTo>
                    <a:pt x="940" y="306"/>
                  </a:lnTo>
                  <a:lnTo>
                    <a:pt x="952" y="312"/>
                  </a:lnTo>
                  <a:lnTo>
                    <a:pt x="952" y="312"/>
                  </a:lnTo>
                  <a:lnTo>
                    <a:pt x="968" y="322"/>
                  </a:lnTo>
                  <a:lnTo>
                    <a:pt x="982" y="334"/>
                  </a:lnTo>
                  <a:lnTo>
                    <a:pt x="996" y="350"/>
                  </a:lnTo>
                  <a:lnTo>
                    <a:pt x="1006" y="366"/>
                  </a:lnTo>
                  <a:lnTo>
                    <a:pt x="1006" y="366"/>
                  </a:lnTo>
                  <a:lnTo>
                    <a:pt x="1004" y="372"/>
                  </a:lnTo>
                  <a:lnTo>
                    <a:pt x="998" y="376"/>
                  </a:lnTo>
                  <a:lnTo>
                    <a:pt x="990" y="382"/>
                  </a:lnTo>
                  <a:lnTo>
                    <a:pt x="980" y="386"/>
                  </a:lnTo>
                  <a:lnTo>
                    <a:pt x="956" y="396"/>
                  </a:lnTo>
                  <a:lnTo>
                    <a:pt x="926" y="402"/>
                  </a:lnTo>
                  <a:lnTo>
                    <a:pt x="890" y="406"/>
                  </a:lnTo>
                  <a:lnTo>
                    <a:pt x="850" y="410"/>
                  </a:lnTo>
                  <a:lnTo>
                    <a:pt x="808" y="412"/>
                  </a:lnTo>
                  <a:lnTo>
                    <a:pt x="766" y="412"/>
                  </a:lnTo>
                  <a:lnTo>
                    <a:pt x="766" y="412"/>
                  </a:lnTo>
                  <a:lnTo>
                    <a:pt x="746" y="392"/>
                  </a:lnTo>
                  <a:lnTo>
                    <a:pt x="728" y="372"/>
                  </a:lnTo>
                  <a:lnTo>
                    <a:pt x="710" y="352"/>
                  </a:lnTo>
                  <a:lnTo>
                    <a:pt x="694" y="330"/>
                  </a:lnTo>
                  <a:lnTo>
                    <a:pt x="694" y="330"/>
                  </a:lnTo>
                  <a:lnTo>
                    <a:pt x="682" y="310"/>
                  </a:lnTo>
                  <a:lnTo>
                    <a:pt x="674" y="290"/>
                  </a:lnTo>
                  <a:lnTo>
                    <a:pt x="674" y="290"/>
                  </a:lnTo>
                  <a:lnTo>
                    <a:pt x="690" y="284"/>
                  </a:lnTo>
                  <a:lnTo>
                    <a:pt x="706" y="274"/>
                  </a:lnTo>
                  <a:lnTo>
                    <a:pt x="706" y="274"/>
                  </a:lnTo>
                  <a:lnTo>
                    <a:pt x="716" y="286"/>
                  </a:lnTo>
                  <a:lnTo>
                    <a:pt x="728" y="298"/>
                  </a:lnTo>
                  <a:lnTo>
                    <a:pt x="740" y="306"/>
                  </a:lnTo>
                  <a:lnTo>
                    <a:pt x="752" y="314"/>
                  </a:lnTo>
                  <a:lnTo>
                    <a:pt x="752" y="314"/>
                  </a:lnTo>
                  <a:lnTo>
                    <a:pt x="766" y="316"/>
                  </a:lnTo>
                  <a:lnTo>
                    <a:pt x="782" y="318"/>
                  </a:lnTo>
                  <a:lnTo>
                    <a:pt x="796" y="316"/>
                  </a:lnTo>
                  <a:lnTo>
                    <a:pt x="810" y="314"/>
                  </a:lnTo>
                  <a:lnTo>
                    <a:pt x="810" y="314"/>
                  </a:lnTo>
                  <a:close/>
                  <a:moveTo>
                    <a:pt x="826" y="24"/>
                  </a:moveTo>
                  <a:lnTo>
                    <a:pt x="826" y="24"/>
                  </a:lnTo>
                  <a:lnTo>
                    <a:pt x="836" y="24"/>
                  </a:lnTo>
                  <a:lnTo>
                    <a:pt x="844" y="26"/>
                  </a:lnTo>
                  <a:lnTo>
                    <a:pt x="852" y="30"/>
                  </a:lnTo>
                  <a:lnTo>
                    <a:pt x="858" y="34"/>
                  </a:lnTo>
                  <a:lnTo>
                    <a:pt x="868" y="46"/>
                  </a:lnTo>
                  <a:lnTo>
                    <a:pt x="876" y="58"/>
                  </a:lnTo>
                  <a:lnTo>
                    <a:pt x="876" y="58"/>
                  </a:lnTo>
                  <a:lnTo>
                    <a:pt x="880" y="72"/>
                  </a:lnTo>
                  <a:lnTo>
                    <a:pt x="882" y="84"/>
                  </a:lnTo>
                  <a:lnTo>
                    <a:pt x="884" y="98"/>
                  </a:lnTo>
                  <a:lnTo>
                    <a:pt x="884" y="112"/>
                  </a:lnTo>
                  <a:lnTo>
                    <a:pt x="884" y="112"/>
                  </a:lnTo>
                  <a:lnTo>
                    <a:pt x="888" y="122"/>
                  </a:lnTo>
                  <a:lnTo>
                    <a:pt x="890" y="134"/>
                  </a:lnTo>
                  <a:lnTo>
                    <a:pt x="892" y="148"/>
                  </a:lnTo>
                  <a:lnTo>
                    <a:pt x="890" y="158"/>
                  </a:lnTo>
                  <a:lnTo>
                    <a:pt x="890" y="158"/>
                  </a:lnTo>
                  <a:lnTo>
                    <a:pt x="888" y="172"/>
                  </a:lnTo>
                  <a:lnTo>
                    <a:pt x="884" y="186"/>
                  </a:lnTo>
                  <a:lnTo>
                    <a:pt x="878" y="198"/>
                  </a:lnTo>
                  <a:lnTo>
                    <a:pt x="874" y="204"/>
                  </a:lnTo>
                  <a:lnTo>
                    <a:pt x="870" y="208"/>
                  </a:lnTo>
                  <a:lnTo>
                    <a:pt x="870" y="208"/>
                  </a:lnTo>
                  <a:lnTo>
                    <a:pt x="866" y="218"/>
                  </a:lnTo>
                  <a:lnTo>
                    <a:pt x="862" y="228"/>
                  </a:lnTo>
                  <a:lnTo>
                    <a:pt x="848" y="248"/>
                  </a:lnTo>
                  <a:lnTo>
                    <a:pt x="832" y="264"/>
                  </a:lnTo>
                  <a:lnTo>
                    <a:pt x="814" y="278"/>
                  </a:lnTo>
                  <a:lnTo>
                    <a:pt x="814" y="278"/>
                  </a:lnTo>
                  <a:lnTo>
                    <a:pt x="798" y="286"/>
                  </a:lnTo>
                  <a:lnTo>
                    <a:pt x="782" y="288"/>
                  </a:lnTo>
                  <a:lnTo>
                    <a:pt x="766" y="286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30" y="266"/>
                  </a:lnTo>
                  <a:lnTo>
                    <a:pt x="712" y="248"/>
                  </a:lnTo>
                  <a:lnTo>
                    <a:pt x="706" y="238"/>
                  </a:lnTo>
                  <a:lnTo>
                    <a:pt x="700" y="228"/>
                  </a:lnTo>
                  <a:lnTo>
                    <a:pt x="694" y="21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86" y="204"/>
                  </a:lnTo>
                  <a:lnTo>
                    <a:pt x="682" y="198"/>
                  </a:lnTo>
                  <a:lnTo>
                    <a:pt x="676" y="186"/>
                  </a:lnTo>
                  <a:lnTo>
                    <a:pt x="672" y="172"/>
                  </a:lnTo>
                  <a:lnTo>
                    <a:pt x="670" y="158"/>
                  </a:lnTo>
                  <a:lnTo>
                    <a:pt x="670" y="158"/>
                  </a:lnTo>
                  <a:lnTo>
                    <a:pt x="670" y="148"/>
                  </a:lnTo>
                  <a:lnTo>
                    <a:pt x="670" y="134"/>
                  </a:lnTo>
                  <a:lnTo>
                    <a:pt x="672" y="122"/>
                  </a:lnTo>
                  <a:lnTo>
                    <a:pt x="678" y="112"/>
                  </a:lnTo>
                  <a:lnTo>
                    <a:pt x="678" y="112"/>
                  </a:lnTo>
                  <a:lnTo>
                    <a:pt x="678" y="92"/>
                  </a:lnTo>
                  <a:lnTo>
                    <a:pt x="680" y="70"/>
                  </a:lnTo>
                  <a:lnTo>
                    <a:pt x="684" y="60"/>
                  </a:lnTo>
                  <a:lnTo>
                    <a:pt x="688" y="50"/>
                  </a:lnTo>
                  <a:lnTo>
                    <a:pt x="694" y="42"/>
                  </a:lnTo>
                  <a:lnTo>
                    <a:pt x="700" y="34"/>
                  </a:lnTo>
                  <a:lnTo>
                    <a:pt x="700" y="34"/>
                  </a:lnTo>
                  <a:lnTo>
                    <a:pt x="714" y="24"/>
                  </a:lnTo>
                  <a:lnTo>
                    <a:pt x="728" y="18"/>
                  </a:lnTo>
                  <a:lnTo>
                    <a:pt x="746" y="12"/>
                  </a:lnTo>
                  <a:lnTo>
                    <a:pt x="762" y="8"/>
                  </a:lnTo>
                  <a:lnTo>
                    <a:pt x="778" y="8"/>
                  </a:lnTo>
                  <a:lnTo>
                    <a:pt x="794" y="10"/>
                  </a:lnTo>
                  <a:lnTo>
                    <a:pt x="808" y="14"/>
                  </a:lnTo>
                  <a:lnTo>
                    <a:pt x="820" y="20"/>
                  </a:lnTo>
                  <a:lnTo>
                    <a:pt x="820" y="20"/>
                  </a:lnTo>
                  <a:lnTo>
                    <a:pt x="822" y="24"/>
                  </a:lnTo>
                  <a:lnTo>
                    <a:pt x="826" y="24"/>
                  </a:lnTo>
                  <a:lnTo>
                    <a:pt x="826" y="24"/>
                  </a:lnTo>
                  <a:close/>
                  <a:moveTo>
                    <a:pt x="710" y="116"/>
                  </a:moveTo>
                  <a:lnTo>
                    <a:pt x="710" y="116"/>
                  </a:lnTo>
                  <a:lnTo>
                    <a:pt x="712" y="112"/>
                  </a:lnTo>
                  <a:lnTo>
                    <a:pt x="714" y="110"/>
                  </a:lnTo>
                  <a:lnTo>
                    <a:pt x="716" y="110"/>
                  </a:lnTo>
                  <a:lnTo>
                    <a:pt x="720" y="110"/>
                  </a:lnTo>
                  <a:lnTo>
                    <a:pt x="720" y="110"/>
                  </a:lnTo>
                  <a:lnTo>
                    <a:pt x="730" y="112"/>
                  </a:lnTo>
                  <a:lnTo>
                    <a:pt x="742" y="112"/>
                  </a:lnTo>
                  <a:lnTo>
                    <a:pt x="778" y="106"/>
                  </a:lnTo>
                  <a:lnTo>
                    <a:pt x="812" y="100"/>
                  </a:lnTo>
                  <a:lnTo>
                    <a:pt x="836" y="92"/>
                  </a:lnTo>
                  <a:lnTo>
                    <a:pt x="836" y="92"/>
                  </a:lnTo>
                  <a:lnTo>
                    <a:pt x="840" y="92"/>
                  </a:lnTo>
                  <a:lnTo>
                    <a:pt x="842" y="92"/>
                  </a:lnTo>
                  <a:lnTo>
                    <a:pt x="844" y="94"/>
                  </a:lnTo>
                  <a:lnTo>
                    <a:pt x="844" y="94"/>
                  </a:lnTo>
                  <a:lnTo>
                    <a:pt x="848" y="100"/>
                  </a:lnTo>
                  <a:lnTo>
                    <a:pt x="848" y="100"/>
                  </a:lnTo>
                  <a:lnTo>
                    <a:pt x="850" y="112"/>
                  </a:lnTo>
                  <a:lnTo>
                    <a:pt x="850" y="124"/>
                  </a:lnTo>
                  <a:lnTo>
                    <a:pt x="850" y="124"/>
                  </a:lnTo>
                  <a:lnTo>
                    <a:pt x="850" y="128"/>
                  </a:lnTo>
                  <a:lnTo>
                    <a:pt x="850" y="128"/>
                  </a:lnTo>
                  <a:lnTo>
                    <a:pt x="852" y="134"/>
                  </a:lnTo>
                  <a:lnTo>
                    <a:pt x="854" y="134"/>
                  </a:lnTo>
                  <a:lnTo>
                    <a:pt x="854" y="134"/>
                  </a:lnTo>
                  <a:lnTo>
                    <a:pt x="858" y="128"/>
                  </a:lnTo>
                  <a:lnTo>
                    <a:pt x="858" y="128"/>
                  </a:lnTo>
                  <a:lnTo>
                    <a:pt x="862" y="122"/>
                  </a:lnTo>
                  <a:lnTo>
                    <a:pt x="866" y="120"/>
                  </a:lnTo>
                  <a:lnTo>
                    <a:pt x="866" y="120"/>
                  </a:lnTo>
                  <a:lnTo>
                    <a:pt x="870" y="120"/>
                  </a:lnTo>
                  <a:lnTo>
                    <a:pt x="872" y="122"/>
                  </a:lnTo>
                  <a:lnTo>
                    <a:pt x="874" y="130"/>
                  </a:lnTo>
                  <a:lnTo>
                    <a:pt x="876" y="142"/>
                  </a:lnTo>
                  <a:lnTo>
                    <a:pt x="876" y="156"/>
                  </a:lnTo>
                  <a:lnTo>
                    <a:pt x="876" y="156"/>
                  </a:lnTo>
                  <a:lnTo>
                    <a:pt x="872" y="172"/>
                  </a:lnTo>
                  <a:lnTo>
                    <a:pt x="868" y="184"/>
                  </a:lnTo>
                  <a:lnTo>
                    <a:pt x="864" y="192"/>
                  </a:lnTo>
                  <a:lnTo>
                    <a:pt x="862" y="194"/>
                  </a:lnTo>
                  <a:lnTo>
                    <a:pt x="860" y="194"/>
                  </a:lnTo>
                  <a:lnTo>
                    <a:pt x="860" y="194"/>
                  </a:lnTo>
                  <a:lnTo>
                    <a:pt x="858" y="194"/>
                  </a:lnTo>
                  <a:lnTo>
                    <a:pt x="856" y="198"/>
                  </a:lnTo>
                  <a:lnTo>
                    <a:pt x="856" y="198"/>
                  </a:lnTo>
                  <a:lnTo>
                    <a:pt x="854" y="208"/>
                  </a:lnTo>
                  <a:lnTo>
                    <a:pt x="850" y="218"/>
                  </a:lnTo>
                  <a:lnTo>
                    <a:pt x="838" y="236"/>
                  </a:lnTo>
                  <a:lnTo>
                    <a:pt x="824" y="252"/>
                  </a:lnTo>
                  <a:lnTo>
                    <a:pt x="808" y="264"/>
                  </a:lnTo>
                  <a:lnTo>
                    <a:pt x="808" y="264"/>
                  </a:lnTo>
                  <a:lnTo>
                    <a:pt x="794" y="270"/>
                  </a:lnTo>
                  <a:lnTo>
                    <a:pt x="782" y="272"/>
                  </a:lnTo>
                  <a:lnTo>
                    <a:pt x="770" y="270"/>
                  </a:lnTo>
                  <a:lnTo>
                    <a:pt x="754" y="264"/>
                  </a:lnTo>
                  <a:lnTo>
                    <a:pt x="754" y="264"/>
                  </a:lnTo>
                  <a:lnTo>
                    <a:pt x="746" y="260"/>
                  </a:lnTo>
                  <a:lnTo>
                    <a:pt x="738" y="254"/>
                  </a:lnTo>
                  <a:lnTo>
                    <a:pt x="724" y="238"/>
                  </a:lnTo>
                  <a:lnTo>
                    <a:pt x="712" y="218"/>
                  </a:lnTo>
                  <a:lnTo>
                    <a:pt x="708" y="208"/>
                  </a:lnTo>
                  <a:lnTo>
                    <a:pt x="704" y="198"/>
                  </a:lnTo>
                  <a:lnTo>
                    <a:pt x="704" y="198"/>
                  </a:lnTo>
                  <a:lnTo>
                    <a:pt x="704" y="194"/>
                  </a:lnTo>
                  <a:lnTo>
                    <a:pt x="702" y="194"/>
                  </a:lnTo>
                  <a:lnTo>
                    <a:pt x="702" y="194"/>
                  </a:lnTo>
                  <a:lnTo>
                    <a:pt x="698" y="194"/>
                  </a:lnTo>
                  <a:lnTo>
                    <a:pt x="696" y="192"/>
                  </a:lnTo>
                  <a:lnTo>
                    <a:pt x="692" y="184"/>
                  </a:lnTo>
                  <a:lnTo>
                    <a:pt x="688" y="172"/>
                  </a:lnTo>
                  <a:lnTo>
                    <a:pt x="686" y="156"/>
                  </a:lnTo>
                  <a:lnTo>
                    <a:pt x="686" y="156"/>
                  </a:lnTo>
                  <a:lnTo>
                    <a:pt x="684" y="142"/>
                  </a:lnTo>
                  <a:lnTo>
                    <a:pt x="686" y="130"/>
                  </a:lnTo>
                  <a:lnTo>
                    <a:pt x="690" y="122"/>
                  </a:lnTo>
                  <a:lnTo>
                    <a:pt x="692" y="120"/>
                  </a:lnTo>
                  <a:lnTo>
                    <a:pt x="694" y="120"/>
                  </a:lnTo>
                  <a:lnTo>
                    <a:pt x="694" y="120"/>
                  </a:lnTo>
                  <a:lnTo>
                    <a:pt x="698" y="122"/>
                  </a:lnTo>
                  <a:lnTo>
                    <a:pt x="704" y="130"/>
                  </a:lnTo>
                  <a:lnTo>
                    <a:pt x="704" y="130"/>
                  </a:lnTo>
                  <a:lnTo>
                    <a:pt x="706" y="134"/>
                  </a:lnTo>
                  <a:lnTo>
                    <a:pt x="708" y="134"/>
                  </a:lnTo>
                  <a:lnTo>
                    <a:pt x="710" y="134"/>
                  </a:lnTo>
                  <a:lnTo>
                    <a:pt x="710" y="134"/>
                  </a:lnTo>
                  <a:lnTo>
                    <a:pt x="710" y="116"/>
                  </a:lnTo>
                  <a:lnTo>
                    <a:pt x="710" y="116"/>
                  </a:lnTo>
                  <a:close/>
                  <a:moveTo>
                    <a:pt x="502" y="390"/>
                  </a:moveTo>
                  <a:lnTo>
                    <a:pt x="502" y="390"/>
                  </a:lnTo>
                  <a:lnTo>
                    <a:pt x="534" y="372"/>
                  </a:lnTo>
                  <a:lnTo>
                    <a:pt x="560" y="352"/>
                  </a:lnTo>
                  <a:lnTo>
                    <a:pt x="572" y="342"/>
                  </a:lnTo>
                  <a:lnTo>
                    <a:pt x="580" y="332"/>
                  </a:lnTo>
                  <a:lnTo>
                    <a:pt x="588" y="320"/>
                  </a:lnTo>
                  <a:lnTo>
                    <a:pt x="596" y="310"/>
                  </a:lnTo>
                  <a:lnTo>
                    <a:pt x="596" y="310"/>
                  </a:lnTo>
                  <a:lnTo>
                    <a:pt x="620" y="320"/>
                  </a:lnTo>
                  <a:lnTo>
                    <a:pt x="644" y="334"/>
                  </a:lnTo>
                  <a:lnTo>
                    <a:pt x="668" y="348"/>
                  </a:lnTo>
                  <a:lnTo>
                    <a:pt x="690" y="364"/>
                  </a:lnTo>
                  <a:lnTo>
                    <a:pt x="690" y="364"/>
                  </a:lnTo>
                  <a:lnTo>
                    <a:pt x="706" y="378"/>
                  </a:lnTo>
                  <a:lnTo>
                    <a:pt x="722" y="394"/>
                  </a:lnTo>
                  <a:lnTo>
                    <a:pt x="738" y="410"/>
                  </a:lnTo>
                  <a:lnTo>
                    <a:pt x="752" y="426"/>
                  </a:lnTo>
                  <a:lnTo>
                    <a:pt x="752" y="426"/>
                  </a:lnTo>
                  <a:lnTo>
                    <a:pt x="746" y="432"/>
                  </a:lnTo>
                  <a:lnTo>
                    <a:pt x="738" y="436"/>
                  </a:lnTo>
                  <a:lnTo>
                    <a:pt x="716" y="444"/>
                  </a:lnTo>
                  <a:lnTo>
                    <a:pt x="690" y="450"/>
                  </a:lnTo>
                  <a:lnTo>
                    <a:pt x="658" y="456"/>
                  </a:lnTo>
                  <a:lnTo>
                    <a:pt x="622" y="460"/>
                  </a:lnTo>
                  <a:lnTo>
                    <a:pt x="584" y="464"/>
                  </a:lnTo>
                  <a:lnTo>
                    <a:pt x="544" y="464"/>
                  </a:lnTo>
                  <a:lnTo>
                    <a:pt x="502" y="466"/>
                  </a:lnTo>
                  <a:lnTo>
                    <a:pt x="460" y="464"/>
                  </a:lnTo>
                  <a:lnTo>
                    <a:pt x="418" y="464"/>
                  </a:lnTo>
                  <a:lnTo>
                    <a:pt x="380" y="460"/>
                  </a:lnTo>
                  <a:lnTo>
                    <a:pt x="344" y="456"/>
                  </a:lnTo>
                  <a:lnTo>
                    <a:pt x="312" y="450"/>
                  </a:lnTo>
                  <a:lnTo>
                    <a:pt x="286" y="444"/>
                  </a:lnTo>
                  <a:lnTo>
                    <a:pt x="266" y="436"/>
                  </a:lnTo>
                  <a:lnTo>
                    <a:pt x="258" y="432"/>
                  </a:lnTo>
                  <a:lnTo>
                    <a:pt x="252" y="426"/>
                  </a:lnTo>
                  <a:lnTo>
                    <a:pt x="252" y="426"/>
                  </a:lnTo>
                  <a:lnTo>
                    <a:pt x="266" y="410"/>
                  </a:lnTo>
                  <a:lnTo>
                    <a:pt x="280" y="394"/>
                  </a:lnTo>
                  <a:lnTo>
                    <a:pt x="296" y="378"/>
                  </a:lnTo>
                  <a:lnTo>
                    <a:pt x="314" y="364"/>
                  </a:lnTo>
                  <a:lnTo>
                    <a:pt x="314" y="364"/>
                  </a:lnTo>
                  <a:lnTo>
                    <a:pt x="336" y="348"/>
                  </a:lnTo>
                  <a:lnTo>
                    <a:pt x="358" y="334"/>
                  </a:lnTo>
                  <a:lnTo>
                    <a:pt x="382" y="32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14" y="320"/>
                  </a:lnTo>
                  <a:lnTo>
                    <a:pt x="422" y="332"/>
                  </a:lnTo>
                  <a:lnTo>
                    <a:pt x="432" y="342"/>
                  </a:lnTo>
                  <a:lnTo>
                    <a:pt x="442" y="352"/>
                  </a:lnTo>
                  <a:lnTo>
                    <a:pt x="468" y="372"/>
                  </a:lnTo>
                  <a:lnTo>
                    <a:pt x="502" y="390"/>
                  </a:lnTo>
                  <a:lnTo>
                    <a:pt x="502" y="390"/>
                  </a:lnTo>
                  <a:close/>
                  <a:moveTo>
                    <a:pt x="414" y="192"/>
                  </a:moveTo>
                  <a:lnTo>
                    <a:pt x="414" y="192"/>
                  </a:lnTo>
                  <a:lnTo>
                    <a:pt x="416" y="206"/>
                  </a:lnTo>
                  <a:lnTo>
                    <a:pt x="420" y="220"/>
                  </a:lnTo>
                  <a:lnTo>
                    <a:pt x="424" y="232"/>
                  </a:lnTo>
                  <a:lnTo>
                    <a:pt x="428" y="244"/>
                  </a:lnTo>
                  <a:lnTo>
                    <a:pt x="428" y="244"/>
                  </a:lnTo>
                  <a:lnTo>
                    <a:pt x="438" y="258"/>
                  </a:lnTo>
                  <a:lnTo>
                    <a:pt x="450" y="272"/>
                  </a:lnTo>
                  <a:lnTo>
                    <a:pt x="464" y="284"/>
                  </a:lnTo>
                  <a:lnTo>
                    <a:pt x="482" y="296"/>
                  </a:lnTo>
                  <a:lnTo>
                    <a:pt x="482" y="296"/>
                  </a:lnTo>
                  <a:lnTo>
                    <a:pt x="492" y="300"/>
                  </a:lnTo>
                  <a:lnTo>
                    <a:pt x="502" y="300"/>
                  </a:lnTo>
                  <a:lnTo>
                    <a:pt x="510" y="300"/>
                  </a:lnTo>
                  <a:lnTo>
                    <a:pt x="520" y="296"/>
                  </a:lnTo>
                  <a:lnTo>
                    <a:pt x="520" y="296"/>
                  </a:lnTo>
                  <a:lnTo>
                    <a:pt x="538" y="284"/>
                  </a:lnTo>
                  <a:lnTo>
                    <a:pt x="552" y="272"/>
                  </a:lnTo>
                  <a:lnTo>
                    <a:pt x="564" y="258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80" y="228"/>
                  </a:lnTo>
                  <a:lnTo>
                    <a:pt x="586" y="212"/>
                  </a:lnTo>
                  <a:lnTo>
                    <a:pt x="586" y="212"/>
                  </a:lnTo>
                  <a:lnTo>
                    <a:pt x="586" y="210"/>
                  </a:lnTo>
                  <a:lnTo>
                    <a:pt x="588" y="210"/>
                  </a:lnTo>
                  <a:lnTo>
                    <a:pt x="588" y="210"/>
                  </a:lnTo>
                  <a:lnTo>
                    <a:pt x="590" y="208"/>
                  </a:lnTo>
                  <a:lnTo>
                    <a:pt x="592" y="206"/>
                  </a:lnTo>
                  <a:lnTo>
                    <a:pt x="598" y="198"/>
                  </a:lnTo>
                  <a:lnTo>
                    <a:pt x="602" y="186"/>
                  </a:lnTo>
                  <a:lnTo>
                    <a:pt x="606" y="170"/>
                  </a:lnTo>
                  <a:lnTo>
                    <a:pt x="606" y="170"/>
                  </a:lnTo>
                  <a:lnTo>
                    <a:pt x="606" y="154"/>
                  </a:lnTo>
                  <a:lnTo>
                    <a:pt x="604" y="140"/>
                  </a:lnTo>
                  <a:lnTo>
                    <a:pt x="600" y="132"/>
                  </a:lnTo>
                  <a:lnTo>
                    <a:pt x="598" y="130"/>
                  </a:lnTo>
                  <a:lnTo>
                    <a:pt x="596" y="128"/>
                  </a:lnTo>
                  <a:lnTo>
                    <a:pt x="596" y="128"/>
                  </a:lnTo>
                  <a:lnTo>
                    <a:pt x="590" y="132"/>
                  </a:lnTo>
                  <a:lnTo>
                    <a:pt x="586" y="138"/>
                  </a:lnTo>
                  <a:lnTo>
                    <a:pt x="586" y="138"/>
                  </a:lnTo>
                  <a:lnTo>
                    <a:pt x="582" y="144"/>
                  </a:lnTo>
                  <a:lnTo>
                    <a:pt x="580" y="144"/>
                  </a:lnTo>
                  <a:lnTo>
                    <a:pt x="578" y="142"/>
                  </a:lnTo>
                  <a:lnTo>
                    <a:pt x="578" y="142"/>
                  </a:lnTo>
                  <a:lnTo>
                    <a:pt x="574" y="136"/>
                  </a:lnTo>
                  <a:lnTo>
                    <a:pt x="572" y="130"/>
                  </a:lnTo>
                  <a:lnTo>
                    <a:pt x="568" y="116"/>
                  </a:lnTo>
                  <a:lnTo>
                    <a:pt x="568" y="116"/>
                  </a:lnTo>
                  <a:lnTo>
                    <a:pt x="564" y="108"/>
                  </a:lnTo>
                  <a:lnTo>
                    <a:pt x="558" y="104"/>
                  </a:lnTo>
                  <a:lnTo>
                    <a:pt x="554" y="104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22" y="124"/>
                  </a:lnTo>
                  <a:lnTo>
                    <a:pt x="498" y="136"/>
                  </a:lnTo>
                  <a:lnTo>
                    <a:pt x="454" y="150"/>
                  </a:lnTo>
                  <a:lnTo>
                    <a:pt x="436" y="158"/>
                  </a:lnTo>
                  <a:lnTo>
                    <a:pt x="424" y="166"/>
                  </a:lnTo>
                  <a:lnTo>
                    <a:pt x="418" y="170"/>
                  </a:lnTo>
                  <a:lnTo>
                    <a:pt x="416" y="176"/>
                  </a:lnTo>
                  <a:lnTo>
                    <a:pt x="414" y="184"/>
                  </a:lnTo>
                  <a:lnTo>
                    <a:pt x="414" y="192"/>
                  </a:lnTo>
                  <a:lnTo>
                    <a:pt x="414" y="192"/>
                  </a:lnTo>
                  <a:close/>
                  <a:moveTo>
                    <a:pt x="464" y="4"/>
                  </a:moveTo>
                  <a:lnTo>
                    <a:pt x="464" y="4"/>
                  </a:lnTo>
                  <a:lnTo>
                    <a:pt x="450" y="8"/>
                  </a:lnTo>
                  <a:lnTo>
                    <a:pt x="436" y="14"/>
                  </a:lnTo>
                  <a:lnTo>
                    <a:pt x="424" y="22"/>
                  </a:lnTo>
                  <a:lnTo>
                    <a:pt x="412" y="30"/>
                  </a:lnTo>
                  <a:lnTo>
                    <a:pt x="400" y="40"/>
                  </a:lnTo>
                  <a:lnTo>
                    <a:pt x="390" y="52"/>
                  </a:lnTo>
                  <a:lnTo>
                    <a:pt x="382" y="66"/>
                  </a:lnTo>
                  <a:lnTo>
                    <a:pt x="374" y="80"/>
                  </a:lnTo>
                  <a:lnTo>
                    <a:pt x="374" y="80"/>
                  </a:lnTo>
                  <a:lnTo>
                    <a:pt x="368" y="102"/>
                  </a:lnTo>
                  <a:lnTo>
                    <a:pt x="366" y="126"/>
                  </a:lnTo>
                  <a:lnTo>
                    <a:pt x="366" y="126"/>
                  </a:lnTo>
                  <a:lnTo>
                    <a:pt x="364" y="180"/>
                  </a:lnTo>
                  <a:lnTo>
                    <a:pt x="364" y="208"/>
                  </a:lnTo>
                  <a:lnTo>
                    <a:pt x="362" y="234"/>
                  </a:lnTo>
                  <a:lnTo>
                    <a:pt x="358" y="260"/>
                  </a:lnTo>
                  <a:lnTo>
                    <a:pt x="352" y="286"/>
                  </a:lnTo>
                  <a:lnTo>
                    <a:pt x="340" y="312"/>
                  </a:lnTo>
                  <a:lnTo>
                    <a:pt x="326" y="340"/>
                  </a:lnTo>
                  <a:lnTo>
                    <a:pt x="326" y="340"/>
                  </a:lnTo>
                  <a:lnTo>
                    <a:pt x="344" y="328"/>
                  </a:lnTo>
                  <a:lnTo>
                    <a:pt x="364" y="316"/>
                  </a:lnTo>
                  <a:lnTo>
                    <a:pt x="404" y="296"/>
                  </a:lnTo>
                  <a:lnTo>
                    <a:pt x="412" y="294"/>
                  </a:lnTo>
                  <a:lnTo>
                    <a:pt x="412" y="294"/>
                  </a:lnTo>
                  <a:lnTo>
                    <a:pt x="420" y="304"/>
                  </a:lnTo>
                  <a:lnTo>
                    <a:pt x="432" y="312"/>
                  </a:lnTo>
                  <a:lnTo>
                    <a:pt x="432" y="312"/>
                  </a:lnTo>
                  <a:lnTo>
                    <a:pt x="434" y="310"/>
                  </a:lnTo>
                  <a:lnTo>
                    <a:pt x="436" y="304"/>
                  </a:lnTo>
                  <a:lnTo>
                    <a:pt x="440" y="288"/>
                  </a:lnTo>
                  <a:lnTo>
                    <a:pt x="440" y="288"/>
                  </a:lnTo>
                  <a:lnTo>
                    <a:pt x="440" y="290"/>
                  </a:lnTo>
                  <a:lnTo>
                    <a:pt x="440" y="290"/>
                  </a:lnTo>
                  <a:lnTo>
                    <a:pt x="456" y="302"/>
                  </a:lnTo>
                  <a:lnTo>
                    <a:pt x="472" y="312"/>
                  </a:lnTo>
                  <a:lnTo>
                    <a:pt x="472" y="312"/>
                  </a:lnTo>
                  <a:lnTo>
                    <a:pt x="488" y="318"/>
                  </a:lnTo>
                  <a:lnTo>
                    <a:pt x="502" y="320"/>
                  </a:lnTo>
                  <a:lnTo>
                    <a:pt x="516" y="318"/>
                  </a:lnTo>
                  <a:lnTo>
                    <a:pt x="530" y="312"/>
                  </a:lnTo>
                  <a:lnTo>
                    <a:pt x="530" y="312"/>
                  </a:lnTo>
                  <a:lnTo>
                    <a:pt x="546" y="302"/>
                  </a:lnTo>
                  <a:lnTo>
                    <a:pt x="562" y="290"/>
                  </a:lnTo>
                  <a:lnTo>
                    <a:pt x="562" y="290"/>
                  </a:lnTo>
                  <a:lnTo>
                    <a:pt x="562" y="288"/>
                  </a:lnTo>
                  <a:lnTo>
                    <a:pt x="562" y="288"/>
                  </a:lnTo>
                  <a:lnTo>
                    <a:pt x="566" y="304"/>
                  </a:lnTo>
                  <a:lnTo>
                    <a:pt x="568" y="310"/>
                  </a:lnTo>
                  <a:lnTo>
                    <a:pt x="572" y="312"/>
                  </a:lnTo>
                  <a:lnTo>
                    <a:pt x="572" y="312"/>
                  </a:lnTo>
                  <a:lnTo>
                    <a:pt x="582" y="304"/>
                  </a:lnTo>
                  <a:lnTo>
                    <a:pt x="592" y="294"/>
                  </a:lnTo>
                  <a:lnTo>
                    <a:pt x="598" y="296"/>
                  </a:lnTo>
                  <a:lnTo>
                    <a:pt x="598" y="296"/>
                  </a:lnTo>
                  <a:lnTo>
                    <a:pt x="638" y="316"/>
                  </a:lnTo>
                  <a:lnTo>
                    <a:pt x="658" y="328"/>
                  </a:lnTo>
                  <a:lnTo>
                    <a:pt x="676" y="340"/>
                  </a:lnTo>
                  <a:lnTo>
                    <a:pt x="676" y="340"/>
                  </a:lnTo>
                  <a:lnTo>
                    <a:pt x="660" y="310"/>
                  </a:lnTo>
                  <a:lnTo>
                    <a:pt x="650" y="284"/>
                  </a:lnTo>
                  <a:lnTo>
                    <a:pt x="644" y="256"/>
                  </a:lnTo>
                  <a:lnTo>
                    <a:pt x="640" y="232"/>
                  </a:lnTo>
                  <a:lnTo>
                    <a:pt x="638" y="206"/>
                  </a:lnTo>
                  <a:lnTo>
                    <a:pt x="638" y="180"/>
                  </a:lnTo>
                  <a:lnTo>
                    <a:pt x="636" y="126"/>
                  </a:lnTo>
                  <a:lnTo>
                    <a:pt x="636" y="126"/>
                  </a:lnTo>
                  <a:lnTo>
                    <a:pt x="634" y="102"/>
                  </a:lnTo>
                  <a:lnTo>
                    <a:pt x="628" y="80"/>
                  </a:lnTo>
                  <a:lnTo>
                    <a:pt x="628" y="80"/>
                  </a:lnTo>
                  <a:lnTo>
                    <a:pt x="622" y="68"/>
                  </a:lnTo>
                  <a:lnTo>
                    <a:pt x="616" y="56"/>
                  </a:lnTo>
                  <a:lnTo>
                    <a:pt x="608" y="44"/>
                  </a:lnTo>
                  <a:lnTo>
                    <a:pt x="598" y="36"/>
                  </a:lnTo>
                  <a:lnTo>
                    <a:pt x="598" y="36"/>
                  </a:lnTo>
                  <a:lnTo>
                    <a:pt x="586" y="26"/>
                  </a:lnTo>
                  <a:lnTo>
                    <a:pt x="570" y="16"/>
                  </a:lnTo>
                  <a:lnTo>
                    <a:pt x="560" y="14"/>
                  </a:lnTo>
                  <a:lnTo>
                    <a:pt x="552" y="12"/>
                  </a:lnTo>
                  <a:lnTo>
                    <a:pt x="542" y="12"/>
                  </a:lnTo>
                  <a:lnTo>
                    <a:pt x="534" y="14"/>
                  </a:lnTo>
                  <a:lnTo>
                    <a:pt x="534" y="14"/>
                  </a:lnTo>
                  <a:lnTo>
                    <a:pt x="518" y="6"/>
                  </a:lnTo>
                  <a:lnTo>
                    <a:pt x="502" y="2"/>
                  </a:lnTo>
                  <a:lnTo>
                    <a:pt x="484" y="0"/>
                  </a:lnTo>
                  <a:lnTo>
                    <a:pt x="464" y="4"/>
                  </a:lnTo>
                  <a:lnTo>
                    <a:pt x="464" y="4"/>
                  </a:lnTo>
                  <a:close/>
                </a:path>
              </a:pathLst>
            </a:custGeom>
            <a:solidFill>
              <a:srgbClr val="2D349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1216316" y="3618021"/>
            <a:ext cx="832783" cy="832783"/>
            <a:chOff x="976612" y="2361705"/>
            <a:chExt cx="832783" cy="832783"/>
          </a:xfrm>
        </p:grpSpPr>
        <p:sp>
          <p:nvSpPr>
            <p:cNvPr id="17" name="Овал 16"/>
            <p:cNvSpPr/>
            <p:nvPr/>
          </p:nvSpPr>
          <p:spPr>
            <a:xfrm>
              <a:off x="976612" y="2361705"/>
              <a:ext cx="832783" cy="832783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" name="Freeform 20"/>
            <p:cNvSpPr>
              <a:spLocks noEditPoints="1"/>
            </p:cNvSpPr>
            <p:nvPr/>
          </p:nvSpPr>
          <p:spPr bwMode="auto">
            <a:xfrm>
              <a:off x="1179292" y="2526060"/>
              <a:ext cx="443370" cy="455149"/>
            </a:xfrm>
            <a:custGeom>
              <a:avLst/>
              <a:gdLst/>
              <a:ahLst/>
              <a:cxnLst>
                <a:cxn ang="0">
                  <a:pos x="64" y="384"/>
                </a:cxn>
                <a:cxn ang="0">
                  <a:pos x="0" y="176"/>
                </a:cxn>
                <a:cxn ang="0">
                  <a:pos x="376" y="224"/>
                </a:cxn>
                <a:cxn ang="0">
                  <a:pos x="374" y="214"/>
                </a:cxn>
                <a:cxn ang="0">
                  <a:pos x="370" y="206"/>
                </a:cxn>
                <a:cxn ang="0">
                  <a:pos x="368" y="194"/>
                </a:cxn>
                <a:cxn ang="0">
                  <a:pos x="372" y="184"/>
                </a:cxn>
                <a:cxn ang="0">
                  <a:pos x="378" y="180"/>
                </a:cxn>
                <a:cxn ang="0">
                  <a:pos x="384" y="166"/>
                </a:cxn>
                <a:cxn ang="0">
                  <a:pos x="384" y="160"/>
                </a:cxn>
                <a:cxn ang="0">
                  <a:pos x="382" y="148"/>
                </a:cxn>
                <a:cxn ang="0">
                  <a:pos x="364" y="130"/>
                </a:cxn>
                <a:cxn ang="0">
                  <a:pos x="352" y="128"/>
                </a:cxn>
                <a:cxn ang="0">
                  <a:pos x="272" y="128"/>
                </a:cxn>
                <a:cxn ang="0">
                  <a:pos x="286" y="88"/>
                </a:cxn>
                <a:cxn ang="0">
                  <a:pos x="288" y="64"/>
                </a:cxn>
                <a:cxn ang="0">
                  <a:pos x="286" y="44"/>
                </a:cxn>
                <a:cxn ang="0">
                  <a:pos x="280" y="24"/>
                </a:cxn>
                <a:cxn ang="0">
                  <a:pos x="268" y="6"/>
                </a:cxn>
                <a:cxn ang="0">
                  <a:pos x="248" y="0"/>
                </a:cxn>
                <a:cxn ang="0">
                  <a:pos x="238" y="2"/>
                </a:cxn>
                <a:cxn ang="0">
                  <a:pos x="228" y="10"/>
                </a:cxn>
                <a:cxn ang="0">
                  <a:pos x="226" y="16"/>
                </a:cxn>
                <a:cxn ang="0">
                  <a:pos x="220" y="62"/>
                </a:cxn>
                <a:cxn ang="0">
                  <a:pos x="208" y="92"/>
                </a:cxn>
                <a:cxn ang="0">
                  <a:pos x="198" y="108"/>
                </a:cxn>
                <a:cxn ang="0">
                  <a:pos x="80" y="192"/>
                </a:cxn>
                <a:cxn ang="0">
                  <a:pos x="80" y="352"/>
                </a:cxn>
                <a:cxn ang="0">
                  <a:pos x="120" y="368"/>
                </a:cxn>
                <a:cxn ang="0">
                  <a:pos x="162" y="380"/>
                </a:cxn>
                <a:cxn ang="0">
                  <a:pos x="208" y="384"/>
                </a:cxn>
                <a:cxn ang="0">
                  <a:pos x="224" y="384"/>
                </a:cxn>
                <a:cxn ang="0">
                  <a:pos x="276" y="380"/>
                </a:cxn>
                <a:cxn ang="0">
                  <a:pos x="318" y="370"/>
                </a:cxn>
                <a:cxn ang="0">
                  <a:pos x="342" y="354"/>
                </a:cxn>
                <a:cxn ang="0">
                  <a:pos x="352" y="336"/>
                </a:cxn>
                <a:cxn ang="0">
                  <a:pos x="352" y="330"/>
                </a:cxn>
                <a:cxn ang="0">
                  <a:pos x="350" y="326"/>
                </a:cxn>
                <a:cxn ang="0">
                  <a:pos x="352" y="316"/>
                </a:cxn>
                <a:cxn ang="0">
                  <a:pos x="356" y="312"/>
                </a:cxn>
                <a:cxn ang="0">
                  <a:pos x="364" y="302"/>
                </a:cxn>
                <a:cxn ang="0">
                  <a:pos x="368" y="288"/>
                </a:cxn>
                <a:cxn ang="0">
                  <a:pos x="366" y="278"/>
                </a:cxn>
                <a:cxn ang="0">
                  <a:pos x="362" y="270"/>
                </a:cxn>
                <a:cxn ang="0">
                  <a:pos x="360" y="258"/>
                </a:cxn>
                <a:cxn ang="0">
                  <a:pos x="364" y="248"/>
                </a:cxn>
                <a:cxn ang="0">
                  <a:pos x="370" y="244"/>
                </a:cxn>
                <a:cxn ang="0">
                  <a:pos x="376" y="230"/>
                </a:cxn>
                <a:cxn ang="0">
                  <a:pos x="376" y="224"/>
                </a:cxn>
              </a:cxnLst>
              <a:rect l="0" t="0" r="r" b="b"/>
              <a:pathLst>
                <a:path w="384" h="384">
                  <a:moveTo>
                    <a:pt x="0" y="384"/>
                  </a:moveTo>
                  <a:lnTo>
                    <a:pt x="64" y="384"/>
                  </a:lnTo>
                  <a:lnTo>
                    <a:pt x="64" y="176"/>
                  </a:lnTo>
                  <a:lnTo>
                    <a:pt x="0" y="176"/>
                  </a:lnTo>
                  <a:lnTo>
                    <a:pt x="0" y="384"/>
                  </a:lnTo>
                  <a:close/>
                  <a:moveTo>
                    <a:pt x="376" y="224"/>
                  </a:moveTo>
                  <a:lnTo>
                    <a:pt x="376" y="224"/>
                  </a:lnTo>
                  <a:lnTo>
                    <a:pt x="374" y="214"/>
                  </a:lnTo>
                  <a:lnTo>
                    <a:pt x="370" y="206"/>
                  </a:lnTo>
                  <a:lnTo>
                    <a:pt x="370" y="206"/>
                  </a:lnTo>
                  <a:lnTo>
                    <a:pt x="368" y="200"/>
                  </a:lnTo>
                  <a:lnTo>
                    <a:pt x="368" y="194"/>
                  </a:lnTo>
                  <a:lnTo>
                    <a:pt x="370" y="188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8" y="180"/>
                  </a:lnTo>
                  <a:lnTo>
                    <a:pt x="382" y="174"/>
                  </a:lnTo>
                  <a:lnTo>
                    <a:pt x="384" y="166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54"/>
                  </a:lnTo>
                  <a:lnTo>
                    <a:pt x="382" y="148"/>
                  </a:lnTo>
                  <a:lnTo>
                    <a:pt x="374" y="138"/>
                  </a:lnTo>
                  <a:lnTo>
                    <a:pt x="364" y="130"/>
                  </a:lnTo>
                  <a:lnTo>
                    <a:pt x="358" y="128"/>
                  </a:lnTo>
                  <a:lnTo>
                    <a:pt x="352" y="128"/>
                  </a:lnTo>
                  <a:lnTo>
                    <a:pt x="272" y="128"/>
                  </a:lnTo>
                  <a:lnTo>
                    <a:pt x="272" y="128"/>
                  </a:lnTo>
                  <a:lnTo>
                    <a:pt x="280" y="108"/>
                  </a:lnTo>
                  <a:lnTo>
                    <a:pt x="286" y="88"/>
                  </a:lnTo>
                  <a:lnTo>
                    <a:pt x="288" y="76"/>
                  </a:lnTo>
                  <a:lnTo>
                    <a:pt x="288" y="64"/>
                  </a:lnTo>
                  <a:lnTo>
                    <a:pt x="288" y="64"/>
                  </a:lnTo>
                  <a:lnTo>
                    <a:pt x="286" y="44"/>
                  </a:lnTo>
                  <a:lnTo>
                    <a:pt x="284" y="34"/>
                  </a:lnTo>
                  <a:lnTo>
                    <a:pt x="280" y="24"/>
                  </a:lnTo>
                  <a:lnTo>
                    <a:pt x="274" y="14"/>
                  </a:lnTo>
                  <a:lnTo>
                    <a:pt x="268" y="6"/>
                  </a:lnTo>
                  <a:lnTo>
                    <a:pt x="258" y="2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38" y="2"/>
                  </a:lnTo>
                  <a:lnTo>
                    <a:pt x="232" y="4"/>
                  </a:lnTo>
                  <a:lnTo>
                    <a:pt x="228" y="10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24" y="40"/>
                  </a:lnTo>
                  <a:lnTo>
                    <a:pt x="220" y="62"/>
                  </a:lnTo>
                  <a:lnTo>
                    <a:pt x="214" y="78"/>
                  </a:lnTo>
                  <a:lnTo>
                    <a:pt x="208" y="92"/>
                  </a:lnTo>
                  <a:lnTo>
                    <a:pt x="202" y="100"/>
                  </a:lnTo>
                  <a:lnTo>
                    <a:pt x="198" y="108"/>
                  </a:lnTo>
                  <a:lnTo>
                    <a:pt x="192" y="112"/>
                  </a:lnTo>
                  <a:lnTo>
                    <a:pt x="80" y="192"/>
                  </a:lnTo>
                  <a:lnTo>
                    <a:pt x="80" y="352"/>
                  </a:lnTo>
                  <a:lnTo>
                    <a:pt x="80" y="352"/>
                  </a:lnTo>
                  <a:lnTo>
                    <a:pt x="92" y="358"/>
                  </a:lnTo>
                  <a:lnTo>
                    <a:pt x="120" y="368"/>
                  </a:lnTo>
                  <a:lnTo>
                    <a:pt x="140" y="374"/>
                  </a:lnTo>
                  <a:lnTo>
                    <a:pt x="162" y="380"/>
                  </a:lnTo>
                  <a:lnTo>
                    <a:pt x="184" y="382"/>
                  </a:lnTo>
                  <a:lnTo>
                    <a:pt x="208" y="384"/>
                  </a:lnTo>
                  <a:lnTo>
                    <a:pt x="224" y="384"/>
                  </a:lnTo>
                  <a:lnTo>
                    <a:pt x="224" y="384"/>
                  </a:lnTo>
                  <a:lnTo>
                    <a:pt x="252" y="384"/>
                  </a:lnTo>
                  <a:lnTo>
                    <a:pt x="276" y="380"/>
                  </a:lnTo>
                  <a:lnTo>
                    <a:pt x="298" y="376"/>
                  </a:lnTo>
                  <a:lnTo>
                    <a:pt x="318" y="370"/>
                  </a:lnTo>
                  <a:lnTo>
                    <a:pt x="332" y="362"/>
                  </a:lnTo>
                  <a:lnTo>
                    <a:pt x="342" y="354"/>
                  </a:lnTo>
                  <a:lnTo>
                    <a:pt x="350" y="346"/>
                  </a:lnTo>
                  <a:lnTo>
                    <a:pt x="352" y="336"/>
                  </a:lnTo>
                  <a:lnTo>
                    <a:pt x="352" y="336"/>
                  </a:lnTo>
                  <a:lnTo>
                    <a:pt x="352" y="330"/>
                  </a:lnTo>
                  <a:lnTo>
                    <a:pt x="352" y="330"/>
                  </a:lnTo>
                  <a:lnTo>
                    <a:pt x="350" y="326"/>
                  </a:lnTo>
                  <a:lnTo>
                    <a:pt x="352" y="320"/>
                  </a:lnTo>
                  <a:lnTo>
                    <a:pt x="352" y="316"/>
                  </a:lnTo>
                  <a:lnTo>
                    <a:pt x="356" y="312"/>
                  </a:lnTo>
                  <a:lnTo>
                    <a:pt x="356" y="312"/>
                  </a:lnTo>
                  <a:lnTo>
                    <a:pt x="362" y="308"/>
                  </a:lnTo>
                  <a:lnTo>
                    <a:pt x="364" y="302"/>
                  </a:lnTo>
                  <a:lnTo>
                    <a:pt x="368" y="296"/>
                  </a:lnTo>
                  <a:lnTo>
                    <a:pt x="368" y="288"/>
                  </a:lnTo>
                  <a:lnTo>
                    <a:pt x="368" y="288"/>
                  </a:lnTo>
                  <a:lnTo>
                    <a:pt x="366" y="278"/>
                  </a:lnTo>
                  <a:lnTo>
                    <a:pt x="362" y="270"/>
                  </a:lnTo>
                  <a:lnTo>
                    <a:pt x="362" y="270"/>
                  </a:lnTo>
                  <a:lnTo>
                    <a:pt x="360" y="264"/>
                  </a:lnTo>
                  <a:lnTo>
                    <a:pt x="360" y="258"/>
                  </a:lnTo>
                  <a:lnTo>
                    <a:pt x="362" y="252"/>
                  </a:lnTo>
                  <a:lnTo>
                    <a:pt x="364" y="248"/>
                  </a:lnTo>
                  <a:lnTo>
                    <a:pt x="364" y="248"/>
                  </a:lnTo>
                  <a:lnTo>
                    <a:pt x="370" y="244"/>
                  </a:lnTo>
                  <a:lnTo>
                    <a:pt x="374" y="238"/>
                  </a:lnTo>
                  <a:lnTo>
                    <a:pt x="376" y="230"/>
                  </a:lnTo>
                  <a:lnTo>
                    <a:pt x="376" y="224"/>
                  </a:lnTo>
                  <a:lnTo>
                    <a:pt x="376" y="224"/>
                  </a:lnTo>
                  <a:close/>
                </a:path>
              </a:pathLst>
            </a:custGeom>
            <a:solidFill>
              <a:srgbClr val="2D349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26" name="Заголовок 25"/>
          <p:cNvSpPr>
            <a:spLocks noGrp="1"/>
          </p:cNvSpPr>
          <p:nvPr>
            <p:ph type="title"/>
          </p:nvPr>
        </p:nvSpPr>
        <p:spPr>
          <a:xfrm>
            <a:off x="397464" y="241352"/>
            <a:ext cx="10601087" cy="648642"/>
          </a:xfrm>
        </p:spPr>
        <p:txBody>
          <a:bodyPr/>
          <a:lstStyle/>
          <a:p>
            <a:r>
              <a:rPr lang="ru-RU" sz="2400" dirty="0"/>
              <a:t>МЫ БОЛЬШЕ, ЧЕМ ИЗДАТЕЛЬСТВО УЧЕБНОЙ ЛИТЕРАТУРЫ!</a:t>
            </a:r>
            <a:br>
              <a:rPr lang="ru-RU" sz="2400" dirty="0"/>
            </a:br>
            <a:r>
              <a:rPr lang="ru-RU" sz="2400" dirty="0">
                <a:solidFill>
                  <a:srgbClr val="EB2049"/>
                </a:solidFill>
              </a:rPr>
              <a:t>4</a:t>
            </a:r>
            <a:r>
              <a:rPr lang="ru-RU" sz="2400" dirty="0" smtClean="0">
                <a:solidFill>
                  <a:srgbClr val="EB2049"/>
                </a:solidFill>
              </a:rPr>
              <a:t> ПРИЧИНЫ РАБОТАТЬ ПО НАШИМ УЧЕБНИКАМ</a:t>
            </a:r>
            <a:endParaRPr lang="ru-RU" sz="24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1216316" y="2594407"/>
            <a:ext cx="832783" cy="832783"/>
            <a:chOff x="1216310" y="2575843"/>
            <a:chExt cx="832783" cy="832783"/>
          </a:xfrm>
        </p:grpSpPr>
        <p:sp>
          <p:nvSpPr>
            <p:cNvPr id="53" name="Овал 52"/>
            <p:cNvSpPr/>
            <p:nvPr/>
          </p:nvSpPr>
          <p:spPr>
            <a:xfrm>
              <a:off x="1216310" y="2575843"/>
              <a:ext cx="832783" cy="832783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80804" y="2718528"/>
              <a:ext cx="54000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150803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81"/>
          <p:cNvSpPr txBox="1">
            <a:spLocks noGrp="1"/>
          </p:cNvSpPr>
          <p:nvPr>
            <p:ph type="ctrTitle" idx="4294967295"/>
          </p:nvPr>
        </p:nvSpPr>
        <p:spPr>
          <a:xfrm>
            <a:off x="270933" y="1557435"/>
            <a:ext cx="11437851" cy="3906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41294" lvl="0" indent="-241294" algn="ctr" defTabSz="1219170">
              <a:spcBef>
                <a:spcPct val="20000"/>
              </a:spcBef>
            </a:pP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ебники рекомендуемые  к использованию при реализации </a:t>
            </a: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разовательной части </a:t>
            </a: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сновной образовательной </a:t>
            </a: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граммы</a:t>
            </a:r>
            <a:endParaRPr sz="3600" dirty="0">
              <a:solidFill>
                <a:srgbClr val="FFFF00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  <p:sp>
        <p:nvSpPr>
          <p:cNvPr id="710" name="Google Shape;710;p81"/>
          <p:cNvSpPr txBox="1"/>
          <p:nvPr/>
        </p:nvSpPr>
        <p:spPr>
          <a:xfrm>
            <a:off x="914403" y="3819835"/>
            <a:ext cx="10794380" cy="1644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600"/>
              <a:defRPr/>
            </a:pPr>
            <a:r>
              <a:rPr lang="ru-RU" sz="2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ИНПРОСВЕЩЕНИЯ России от 28.12.2018 № 345 </a:t>
            </a:r>
            <a:endParaRPr sz="2800" kern="0" dirty="0">
              <a:solidFill>
                <a:srgbClr val="FFFFFF"/>
              </a:solidFill>
              <a:latin typeface="Blackadder ITC" panose="04020505051007020D02" pitchFamily="82" charset="0"/>
              <a:ea typeface="Roboto"/>
              <a:cs typeface="Roboto"/>
              <a:sym typeface="Roboto"/>
            </a:endParaRPr>
          </a:p>
        </p:txBody>
      </p:sp>
      <p:sp>
        <p:nvSpPr>
          <p:cNvPr id="711" name="Google Shape;711;p81"/>
          <p:cNvSpPr txBox="1">
            <a:spLocks noGrp="1"/>
          </p:cNvSpPr>
          <p:nvPr>
            <p:ph type="ctrTitle" idx="4294967295"/>
          </p:nvPr>
        </p:nvSpPr>
        <p:spPr>
          <a:xfrm>
            <a:off x="321733" y="1465400"/>
            <a:ext cx="795867" cy="18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 dirty="0" smtClean="0">
                <a:solidFill>
                  <a:srgbClr val="ED1064"/>
                </a:solidFill>
                <a:latin typeface="Roboto Slab Light"/>
                <a:ea typeface="Roboto Slab Light"/>
                <a:cs typeface="Roboto Slab Light"/>
                <a:sym typeface="Roboto Slab Light"/>
              </a:rPr>
              <a:t>1</a:t>
            </a:r>
            <a:endParaRPr sz="6400" dirty="0">
              <a:solidFill>
                <a:srgbClr val="ED1064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433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704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ЧТО ОКРУЖАЕТ УЧИТЕЛЯ СЕГОДНЯ?">
            <a:extLst>
              <a:ext uri="{FF2B5EF4-FFF2-40B4-BE49-F238E27FC236}">
                <a16:creationId xmlns="" xmlns:a16="http://schemas.microsoft.com/office/drawing/2014/main" id="{9B071EFB-0F62-D545-807E-0CE715EF401E}"/>
              </a:ext>
            </a:extLst>
          </p:cNvPr>
          <p:cNvSpPr txBox="1">
            <a:spLocks/>
          </p:cNvSpPr>
          <p:nvPr/>
        </p:nvSpPr>
        <p:spPr>
          <a:xfrm>
            <a:off x="2676128" y="1795757"/>
            <a:ext cx="3078343" cy="514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ОБЛЕГЧАЕТ РАБОТУ УЧИТЕЛЯ</a:t>
            </a:r>
          </a:p>
        </p:txBody>
      </p:sp>
      <p:sp>
        <p:nvSpPr>
          <p:cNvPr id="13" name="ЧТО ОКРУЖАЕТ УЧИТЕЛЯ СЕГОДНЯ?">
            <a:extLst>
              <a:ext uri="{FF2B5EF4-FFF2-40B4-BE49-F238E27FC236}">
                <a16:creationId xmlns="" xmlns:a16="http://schemas.microsoft.com/office/drawing/2014/main" id="{9E7F6303-984E-2B49-81E7-DA78337C00B9}"/>
              </a:ext>
            </a:extLst>
          </p:cNvPr>
          <p:cNvSpPr txBox="1">
            <a:spLocks/>
          </p:cNvSpPr>
          <p:nvPr/>
        </p:nvSpPr>
        <p:spPr>
          <a:xfrm>
            <a:off x="8583497" y="3385514"/>
            <a:ext cx="2724681" cy="607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«КЛАССНАЯ РАБОТА»</a:t>
            </a:r>
          </a:p>
        </p:txBody>
      </p:sp>
      <p:sp>
        <p:nvSpPr>
          <p:cNvPr id="15" name="ЧТО ОКРУЖАЕТ УЧИТЕЛЯ СЕГОДНЯ?">
            <a:extLst>
              <a:ext uri="{FF2B5EF4-FFF2-40B4-BE49-F238E27FC236}">
                <a16:creationId xmlns="" xmlns:a16="http://schemas.microsoft.com/office/drawing/2014/main" id="{DCB82A16-0E4C-4148-B743-D9C421AA8C71}"/>
              </a:ext>
            </a:extLst>
          </p:cNvPr>
          <p:cNvSpPr txBox="1">
            <a:spLocks/>
          </p:cNvSpPr>
          <p:nvPr/>
        </p:nvSpPr>
        <p:spPr>
          <a:xfrm>
            <a:off x="2686144" y="3235233"/>
            <a:ext cx="3379573" cy="514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ПОМОГАЕТ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ЛУЧШЕ УЧИТЬ И УЧИТЬСЯ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iosCompressed"/>
            </a:endParaRPr>
          </a:p>
        </p:txBody>
      </p:sp>
      <p:sp>
        <p:nvSpPr>
          <p:cNvPr id="16" name="ЧТО ОКРУЖАЕТ УЧИТЕЛЯ СЕГОДНЯ?">
            <a:extLst>
              <a:ext uri="{FF2B5EF4-FFF2-40B4-BE49-F238E27FC236}">
                <a16:creationId xmlns="" xmlns:a16="http://schemas.microsoft.com/office/drawing/2014/main" id="{4BAB4E26-9C5E-1843-AED8-89ECA7323E2E}"/>
              </a:ext>
            </a:extLst>
          </p:cNvPr>
          <p:cNvSpPr txBox="1">
            <a:spLocks/>
          </p:cNvSpPr>
          <p:nvPr/>
        </p:nvSpPr>
        <p:spPr>
          <a:xfrm>
            <a:off x="2676131" y="4321333"/>
            <a:ext cx="3186353" cy="1253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ОБЕСПЕЧИВАЕТ ИСПОЛЬЗОВАНИЕ СОВРЕМЕННЫХ ЦИФРОВЫХ ТЕХНОЛОГ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25768866-F9DB-D342-9592-C571EDD9A63E}"/>
              </a:ext>
            </a:extLst>
          </p:cNvPr>
          <p:cNvSpPr txBox="1"/>
          <p:nvPr/>
        </p:nvSpPr>
        <p:spPr>
          <a:xfrm rot="16200000">
            <a:off x="6792927" y="3422310"/>
            <a:ext cx="2266497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>
              <a:lnSpc>
                <a:spcPct val="70000"/>
              </a:lnSpc>
            </a:pPr>
            <a:r>
              <a:rPr lang="ru-RU" sz="4000" dirty="0">
                <a:solidFill>
                  <a:srgbClr val="2D3494"/>
                </a:solidFill>
                <a:latin typeface="Calibri" panose="020F0502020204030204" pitchFamily="34" charset="0"/>
              </a:rPr>
              <a:t>СЕРВИСЫ</a:t>
            </a:r>
          </a:p>
        </p:txBody>
      </p:sp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162321" y="221823"/>
            <a:ext cx="2145857" cy="726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53928" y="1740797"/>
            <a:ext cx="618751" cy="6525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629305" y="3170976"/>
            <a:ext cx="641251" cy="6525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629305" y="4610344"/>
            <a:ext cx="641251" cy="652500"/>
          </a:xfrm>
          <a:prstGeom prst="rect">
            <a:avLst/>
          </a:prstGeom>
        </p:spPr>
      </p:pic>
      <p:sp>
        <p:nvSpPr>
          <p:cNvPr id="23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568066" y="3654007"/>
            <a:ext cx="4081091" cy="30471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475704" y="1606130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1474168" y="3003483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1460808" y="4459014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89256" y="195168"/>
            <a:ext cx="10601087" cy="648642"/>
          </a:xfrm>
        </p:spPr>
        <p:txBody>
          <a:bodyPr/>
          <a:lstStyle/>
          <a:p>
            <a:r>
              <a:rPr lang="ru-RU" sz="2400" dirty="0"/>
              <a:t>LECTA – </a:t>
            </a:r>
            <a:r>
              <a:rPr lang="ru-RU" sz="2400" dirty="0" smtClean="0"/>
              <a:t>УНИКАЛЬНАЯ ИНТЕРАКТИВНАЯ </a:t>
            </a:r>
            <a:br>
              <a:rPr lang="ru-RU" sz="2400" dirty="0" smtClean="0"/>
            </a:br>
            <a:r>
              <a:rPr lang="ru-RU" sz="2400" dirty="0" smtClean="0"/>
              <a:t>ЦИФРОВАЯ </a:t>
            </a:r>
            <a:r>
              <a:rPr lang="ru-RU" sz="2400" dirty="0"/>
              <a:t>ОБРАЗОВАТЕЛЬНАЯ ПЛАТФОРМ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84055" y="6345959"/>
            <a:ext cx="3354829" cy="2431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Адрес сайта:</a:t>
            </a:r>
            <a:r>
              <a:rPr lang="ru-RU" sz="1400" dirty="0" smtClean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1400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10"/>
              </a:rPr>
              <a:t>https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10"/>
              </a:rPr>
              <a:t>://lecta.rosuchebnik.ru/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790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40118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БЛАГОДАРЯ:"/>
          <p:cNvSpPr txBox="1"/>
          <p:nvPr/>
        </p:nvSpPr>
        <p:spPr>
          <a:xfrm>
            <a:off x="4521712" y="329240"/>
            <a:ext cx="5701101" cy="396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r>
              <a:rPr lang="ru-RU" sz="2800" b="1" dirty="0">
                <a:solidFill>
                  <a:srgbClr val="2D3494"/>
                </a:solidFill>
                <a:latin typeface="+mn-lt"/>
                <a:ea typeface="HeliosCompressed"/>
                <a:cs typeface="HeliosCompressed"/>
              </a:rPr>
              <a:t>ПОПРОБУЙТЕ И УБЕДИТЕСЬ САМИ!</a:t>
            </a:r>
            <a:endParaRPr sz="2800" b="1" dirty="0">
              <a:solidFill>
                <a:srgbClr val="2D3494"/>
              </a:solidFill>
              <a:latin typeface="+mn-lt"/>
              <a:ea typeface="HeliosCompressed"/>
              <a:cs typeface="HeliosCompressed"/>
            </a:endParaRPr>
          </a:p>
        </p:txBody>
      </p:sp>
      <p:sp>
        <p:nvSpPr>
          <p:cNvPr id="13" name="Сервисы «Классная работа» и «Контроль»"/>
          <p:cNvSpPr txBox="1"/>
          <p:nvPr/>
        </p:nvSpPr>
        <p:spPr>
          <a:xfrm>
            <a:off x="2856924" y="5553865"/>
            <a:ext cx="3009959" cy="2728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8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Сервис </a:t>
            </a:r>
            <a:r>
              <a:rPr lang="ru-RU" sz="18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«Классная работа</a:t>
            </a:r>
            <a:r>
              <a:rPr lang="ru-RU" sz="18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»</a:t>
            </a:r>
            <a:endParaRPr sz="18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4" name="2018"/>
          <p:cNvSpPr txBox="1"/>
          <p:nvPr/>
        </p:nvSpPr>
        <p:spPr>
          <a:xfrm>
            <a:off x="6327347" y="5541608"/>
            <a:ext cx="63855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2019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83956" y="3484704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5 </a:t>
            </a: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чебников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92764" y="3484700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1 месяц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147087" y="3484700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147087" y="5490210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5520" y="148261"/>
            <a:ext cx="2185063" cy="73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7" name="Прямоугольник 36"/>
          <p:cNvSpPr/>
          <p:nvPr/>
        </p:nvSpPr>
        <p:spPr>
          <a:xfrm>
            <a:off x="384055" y="6345959"/>
            <a:ext cx="3354829" cy="2431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Адрес сайта:</a:t>
            </a:r>
            <a:r>
              <a:rPr lang="ru-RU" sz="1400" dirty="0" smtClean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1400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6"/>
              </a:rPr>
              <a:t>https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6"/>
              </a:rPr>
              <a:t>://lecta.rosuchebnik.ru/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</a:endParaRPr>
          </a:p>
        </p:txBody>
      </p:sp>
      <p:sp>
        <p:nvSpPr>
          <p:cNvPr id="23" name="Freeform 20"/>
          <p:cNvSpPr>
            <a:spLocks noEditPoints="1"/>
          </p:cNvSpPr>
          <p:nvPr/>
        </p:nvSpPr>
        <p:spPr bwMode="auto">
          <a:xfrm flipH="1">
            <a:off x="2067744" y="3014754"/>
            <a:ext cx="522595" cy="536478"/>
          </a:xfrm>
          <a:custGeom>
            <a:avLst/>
            <a:gdLst/>
            <a:ahLst/>
            <a:cxnLst>
              <a:cxn ang="0">
                <a:pos x="64" y="384"/>
              </a:cxn>
              <a:cxn ang="0">
                <a:pos x="0" y="176"/>
              </a:cxn>
              <a:cxn ang="0">
                <a:pos x="376" y="224"/>
              </a:cxn>
              <a:cxn ang="0">
                <a:pos x="374" y="214"/>
              </a:cxn>
              <a:cxn ang="0">
                <a:pos x="370" y="206"/>
              </a:cxn>
              <a:cxn ang="0">
                <a:pos x="368" y="194"/>
              </a:cxn>
              <a:cxn ang="0">
                <a:pos x="372" y="184"/>
              </a:cxn>
              <a:cxn ang="0">
                <a:pos x="378" y="180"/>
              </a:cxn>
              <a:cxn ang="0">
                <a:pos x="384" y="166"/>
              </a:cxn>
              <a:cxn ang="0">
                <a:pos x="384" y="160"/>
              </a:cxn>
              <a:cxn ang="0">
                <a:pos x="382" y="148"/>
              </a:cxn>
              <a:cxn ang="0">
                <a:pos x="364" y="130"/>
              </a:cxn>
              <a:cxn ang="0">
                <a:pos x="352" y="128"/>
              </a:cxn>
              <a:cxn ang="0">
                <a:pos x="272" y="128"/>
              </a:cxn>
              <a:cxn ang="0">
                <a:pos x="286" y="88"/>
              </a:cxn>
              <a:cxn ang="0">
                <a:pos x="288" y="64"/>
              </a:cxn>
              <a:cxn ang="0">
                <a:pos x="286" y="44"/>
              </a:cxn>
              <a:cxn ang="0">
                <a:pos x="280" y="24"/>
              </a:cxn>
              <a:cxn ang="0">
                <a:pos x="268" y="6"/>
              </a:cxn>
              <a:cxn ang="0">
                <a:pos x="248" y="0"/>
              </a:cxn>
              <a:cxn ang="0">
                <a:pos x="238" y="2"/>
              </a:cxn>
              <a:cxn ang="0">
                <a:pos x="228" y="10"/>
              </a:cxn>
              <a:cxn ang="0">
                <a:pos x="226" y="16"/>
              </a:cxn>
              <a:cxn ang="0">
                <a:pos x="220" y="62"/>
              </a:cxn>
              <a:cxn ang="0">
                <a:pos x="208" y="92"/>
              </a:cxn>
              <a:cxn ang="0">
                <a:pos x="198" y="108"/>
              </a:cxn>
              <a:cxn ang="0">
                <a:pos x="80" y="192"/>
              </a:cxn>
              <a:cxn ang="0">
                <a:pos x="80" y="352"/>
              </a:cxn>
              <a:cxn ang="0">
                <a:pos x="120" y="368"/>
              </a:cxn>
              <a:cxn ang="0">
                <a:pos x="162" y="380"/>
              </a:cxn>
              <a:cxn ang="0">
                <a:pos x="208" y="384"/>
              </a:cxn>
              <a:cxn ang="0">
                <a:pos x="224" y="384"/>
              </a:cxn>
              <a:cxn ang="0">
                <a:pos x="276" y="380"/>
              </a:cxn>
              <a:cxn ang="0">
                <a:pos x="318" y="370"/>
              </a:cxn>
              <a:cxn ang="0">
                <a:pos x="342" y="354"/>
              </a:cxn>
              <a:cxn ang="0">
                <a:pos x="352" y="336"/>
              </a:cxn>
              <a:cxn ang="0">
                <a:pos x="352" y="330"/>
              </a:cxn>
              <a:cxn ang="0">
                <a:pos x="350" y="326"/>
              </a:cxn>
              <a:cxn ang="0">
                <a:pos x="352" y="316"/>
              </a:cxn>
              <a:cxn ang="0">
                <a:pos x="356" y="312"/>
              </a:cxn>
              <a:cxn ang="0">
                <a:pos x="364" y="302"/>
              </a:cxn>
              <a:cxn ang="0">
                <a:pos x="368" y="288"/>
              </a:cxn>
              <a:cxn ang="0">
                <a:pos x="366" y="278"/>
              </a:cxn>
              <a:cxn ang="0">
                <a:pos x="362" y="270"/>
              </a:cxn>
              <a:cxn ang="0">
                <a:pos x="360" y="258"/>
              </a:cxn>
              <a:cxn ang="0">
                <a:pos x="364" y="248"/>
              </a:cxn>
              <a:cxn ang="0">
                <a:pos x="370" y="244"/>
              </a:cxn>
              <a:cxn ang="0">
                <a:pos x="376" y="230"/>
              </a:cxn>
              <a:cxn ang="0">
                <a:pos x="376" y="224"/>
              </a:cxn>
            </a:cxnLst>
            <a:rect l="0" t="0" r="r" b="b"/>
            <a:pathLst>
              <a:path w="384" h="384">
                <a:moveTo>
                  <a:pt x="0" y="384"/>
                </a:moveTo>
                <a:lnTo>
                  <a:pt x="64" y="384"/>
                </a:lnTo>
                <a:lnTo>
                  <a:pt x="64" y="176"/>
                </a:lnTo>
                <a:lnTo>
                  <a:pt x="0" y="176"/>
                </a:lnTo>
                <a:lnTo>
                  <a:pt x="0" y="384"/>
                </a:lnTo>
                <a:close/>
                <a:moveTo>
                  <a:pt x="376" y="224"/>
                </a:moveTo>
                <a:lnTo>
                  <a:pt x="376" y="224"/>
                </a:lnTo>
                <a:lnTo>
                  <a:pt x="374" y="214"/>
                </a:lnTo>
                <a:lnTo>
                  <a:pt x="370" y="206"/>
                </a:lnTo>
                <a:lnTo>
                  <a:pt x="370" y="206"/>
                </a:lnTo>
                <a:lnTo>
                  <a:pt x="368" y="200"/>
                </a:lnTo>
                <a:lnTo>
                  <a:pt x="368" y="194"/>
                </a:lnTo>
                <a:lnTo>
                  <a:pt x="370" y="188"/>
                </a:lnTo>
                <a:lnTo>
                  <a:pt x="372" y="184"/>
                </a:lnTo>
                <a:lnTo>
                  <a:pt x="372" y="184"/>
                </a:lnTo>
                <a:lnTo>
                  <a:pt x="378" y="180"/>
                </a:lnTo>
                <a:lnTo>
                  <a:pt x="382" y="174"/>
                </a:lnTo>
                <a:lnTo>
                  <a:pt x="384" y="166"/>
                </a:lnTo>
                <a:lnTo>
                  <a:pt x="384" y="160"/>
                </a:lnTo>
                <a:lnTo>
                  <a:pt x="384" y="160"/>
                </a:lnTo>
                <a:lnTo>
                  <a:pt x="384" y="154"/>
                </a:lnTo>
                <a:lnTo>
                  <a:pt x="382" y="148"/>
                </a:lnTo>
                <a:lnTo>
                  <a:pt x="374" y="138"/>
                </a:lnTo>
                <a:lnTo>
                  <a:pt x="364" y="130"/>
                </a:lnTo>
                <a:lnTo>
                  <a:pt x="358" y="128"/>
                </a:lnTo>
                <a:lnTo>
                  <a:pt x="352" y="128"/>
                </a:lnTo>
                <a:lnTo>
                  <a:pt x="272" y="128"/>
                </a:lnTo>
                <a:lnTo>
                  <a:pt x="272" y="128"/>
                </a:lnTo>
                <a:lnTo>
                  <a:pt x="280" y="108"/>
                </a:lnTo>
                <a:lnTo>
                  <a:pt x="286" y="88"/>
                </a:lnTo>
                <a:lnTo>
                  <a:pt x="288" y="76"/>
                </a:lnTo>
                <a:lnTo>
                  <a:pt x="288" y="64"/>
                </a:lnTo>
                <a:lnTo>
                  <a:pt x="288" y="64"/>
                </a:lnTo>
                <a:lnTo>
                  <a:pt x="286" y="44"/>
                </a:lnTo>
                <a:lnTo>
                  <a:pt x="284" y="34"/>
                </a:lnTo>
                <a:lnTo>
                  <a:pt x="280" y="24"/>
                </a:lnTo>
                <a:lnTo>
                  <a:pt x="274" y="14"/>
                </a:lnTo>
                <a:lnTo>
                  <a:pt x="268" y="6"/>
                </a:lnTo>
                <a:lnTo>
                  <a:pt x="258" y="2"/>
                </a:lnTo>
                <a:lnTo>
                  <a:pt x="248" y="0"/>
                </a:lnTo>
                <a:lnTo>
                  <a:pt x="248" y="0"/>
                </a:lnTo>
                <a:lnTo>
                  <a:pt x="238" y="2"/>
                </a:lnTo>
                <a:lnTo>
                  <a:pt x="232" y="4"/>
                </a:lnTo>
                <a:lnTo>
                  <a:pt x="228" y="10"/>
                </a:lnTo>
                <a:lnTo>
                  <a:pt x="226" y="16"/>
                </a:lnTo>
                <a:lnTo>
                  <a:pt x="226" y="16"/>
                </a:lnTo>
                <a:lnTo>
                  <a:pt x="224" y="40"/>
                </a:lnTo>
                <a:lnTo>
                  <a:pt x="220" y="62"/>
                </a:lnTo>
                <a:lnTo>
                  <a:pt x="214" y="78"/>
                </a:lnTo>
                <a:lnTo>
                  <a:pt x="208" y="92"/>
                </a:lnTo>
                <a:lnTo>
                  <a:pt x="202" y="100"/>
                </a:lnTo>
                <a:lnTo>
                  <a:pt x="198" y="108"/>
                </a:lnTo>
                <a:lnTo>
                  <a:pt x="192" y="112"/>
                </a:lnTo>
                <a:lnTo>
                  <a:pt x="80" y="192"/>
                </a:lnTo>
                <a:lnTo>
                  <a:pt x="80" y="352"/>
                </a:lnTo>
                <a:lnTo>
                  <a:pt x="80" y="352"/>
                </a:lnTo>
                <a:lnTo>
                  <a:pt x="92" y="358"/>
                </a:lnTo>
                <a:lnTo>
                  <a:pt x="120" y="368"/>
                </a:lnTo>
                <a:lnTo>
                  <a:pt x="140" y="374"/>
                </a:lnTo>
                <a:lnTo>
                  <a:pt x="162" y="380"/>
                </a:lnTo>
                <a:lnTo>
                  <a:pt x="184" y="382"/>
                </a:lnTo>
                <a:lnTo>
                  <a:pt x="208" y="384"/>
                </a:lnTo>
                <a:lnTo>
                  <a:pt x="224" y="384"/>
                </a:lnTo>
                <a:lnTo>
                  <a:pt x="224" y="384"/>
                </a:lnTo>
                <a:lnTo>
                  <a:pt x="252" y="384"/>
                </a:lnTo>
                <a:lnTo>
                  <a:pt x="276" y="380"/>
                </a:lnTo>
                <a:lnTo>
                  <a:pt x="298" y="376"/>
                </a:lnTo>
                <a:lnTo>
                  <a:pt x="318" y="370"/>
                </a:lnTo>
                <a:lnTo>
                  <a:pt x="332" y="362"/>
                </a:lnTo>
                <a:lnTo>
                  <a:pt x="342" y="354"/>
                </a:lnTo>
                <a:lnTo>
                  <a:pt x="350" y="346"/>
                </a:lnTo>
                <a:lnTo>
                  <a:pt x="352" y="336"/>
                </a:lnTo>
                <a:lnTo>
                  <a:pt x="352" y="336"/>
                </a:lnTo>
                <a:lnTo>
                  <a:pt x="352" y="330"/>
                </a:lnTo>
                <a:lnTo>
                  <a:pt x="352" y="330"/>
                </a:lnTo>
                <a:lnTo>
                  <a:pt x="350" y="326"/>
                </a:lnTo>
                <a:lnTo>
                  <a:pt x="352" y="320"/>
                </a:lnTo>
                <a:lnTo>
                  <a:pt x="352" y="316"/>
                </a:lnTo>
                <a:lnTo>
                  <a:pt x="356" y="312"/>
                </a:lnTo>
                <a:lnTo>
                  <a:pt x="356" y="312"/>
                </a:lnTo>
                <a:lnTo>
                  <a:pt x="362" y="308"/>
                </a:lnTo>
                <a:lnTo>
                  <a:pt x="364" y="302"/>
                </a:lnTo>
                <a:lnTo>
                  <a:pt x="368" y="296"/>
                </a:lnTo>
                <a:lnTo>
                  <a:pt x="368" y="288"/>
                </a:lnTo>
                <a:lnTo>
                  <a:pt x="368" y="288"/>
                </a:lnTo>
                <a:lnTo>
                  <a:pt x="366" y="278"/>
                </a:lnTo>
                <a:lnTo>
                  <a:pt x="362" y="270"/>
                </a:lnTo>
                <a:lnTo>
                  <a:pt x="362" y="270"/>
                </a:lnTo>
                <a:lnTo>
                  <a:pt x="360" y="264"/>
                </a:lnTo>
                <a:lnTo>
                  <a:pt x="360" y="258"/>
                </a:lnTo>
                <a:lnTo>
                  <a:pt x="362" y="252"/>
                </a:lnTo>
                <a:lnTo>
                  <a:pt x="364" y="248"/>
                </a:lnTo>
                <a:lnTo>
                  <a:pt x="364" y="248"/>
                </a:lnTo>
                <a:lnTo>
                  <a:pt x="370" y="244"/>
                </a:lnTo>
                <a:lnTo>
                  <a:pt x="374" y="238"/>
                </a:lnTo>
                <a:lnTo>
                  <a:pt x="376" y="230"/>
                </a:lnTo>
                <a:lnTo>
                  <a:pt x="376" y="224"/>
                </a:lnTo>
                <a:lnTo>
                  <a:pt x="376" y="224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/>
          </a:p>
        </p:txBody>
      </p:sp>
      <p:sp>
        <p:nvSpPr>
          <p:cNvPr id="25" name="Freeform 20"/>
          <p:cNvSpPr>
            <a:spLocks noEditPoints="1"/>
          </p:cNvSpPr>
          <p:nvPr/>
        </p:nvSpPr>
        <p:spPr bwMode="auto">
          <a:xfrm flipH="1">
            <a:off x="2049521" y="4617883"/>
            <a:ext cx="522595" cy="536478"/>
          </a:xfrm>
          <a:custGeom>
            <a:avLst/>
            <a:gdLst/>
            <a:ahLst/>
            <a:cxnLst>
              <a:cxn ang="0">
                <a:pos x="64" y="384"/>
              </a:cxn>
              <a:cxn ang="0">
                <a:pos x="0" y="176"/>
              </a:cxn>
              <a:cxn ang="0">
                <a:pos x="376" y="224"/>
              </a:cxn>
              <a:cxn ang="0">
                <a:pos x="374" y="214"/>
              </a:cxn>
              <a:cxn ang="0">
                <a:pos x="370" y="206"/>
              </a:cxn>
              <a:cxn ang="0">
                <a:pos x="368" y="194"/>
              </a:cxn>
              <a:cxn ang="0">
                <a:pos x="372" y="184"/>
              </a:cxn>
              <a:cxn ang="0">
                <a:pos x="378" y="180"/>
              </a:cxn>
              <a:cxn ang="0">
                <a:pos x="384" y="166"/>
              </a:cxn>
              <a:cxn ang="0">
                <a:pos x="384" y="160"/>
              </a:cxn>
              <a:cxn ang="0">
                <a:pos x="382" y="148"/>
              </a:cxn>
              <a:cxn ang="0">
                <a:pos x="364" y="130"/>
              </a:cxn>
              <a:cxn ang="0">
                <a:pos x="352" y="128"/>
              </a:cxn>
              <a:cxn ang="0">
                <a:pos x="272" y="128"/>
              </a:cxn>
              <a:cxn ang="0">
                <a:pos x="286" y="88"/>
              </a:cxn>
              <a:cxn ang="0">
                <a:pos x="288" y="64"/>
              </a:cxn>
              <a:cxn ang="0">
                <a:pos x="286" y="44"/>
              </a:cxn>
              <a:cxn ang="0">
                <a:pos x="280" y="24"/>
              </a:cxn>
              <a:cxn ang="0">
                <a:pos x="268" y="6"/>
              </a:cxn>
              <a:cxn ang="0">
                <a:pos x="248" y="0"/>
              </a:cxn>
              <a:cxn ang="0">
                <a:pos x="238" y="2"/>
              </a:cxn>
              <a:cxn ang="0">
                <a:pos x="228" y="10"/>
              </a:cxn>
              <a:cxn ang="0">
                <a:pos x="226" y="16"/>
              </a:cxn>
              <a:cxn ang="0">
                <a:pos x="220" y="62"/>
              </a:cxn>
              <a:cxn ang="0">
                <a:pos x="208" y="92"/>
              </a:cxn>
              <a:cxn ang="0">
                <a:pos x="198" y="108"/>
              </a:cxn>
              <a:cxn ang="0">
                <a:pos x="80" y="192"/>
              </a:cxn>
              <a:cxn ang="0">
                <a:pos x="80" y="352"/>
              </a:cxn>
              <a:cxn ang="0">
                <a:pos x="120" y="368"/>
              </a:cxn>
              <a:cxn ang="0">
                <a:pos x="162" y="380"/>
              </a:cxn>
              <a:cxn ang="0">
                <a:pos x="208" y="384"/>
              </a:cxn>
              <a:cxn ang="0">
                <a:pos x="224" y="384"/>
              </a:cxn>
              <a:cxn ang="0">
                <a:pos x="276" y="380"/>
              </a:cxn>
              <a:cxn ang="0">
                <a:pos x="318" y="370"/>
              </a:cxn>
              <a:cxn ang="0">
                <a:pos x="342" y="354"/>
              </a:cxn>
              <a:cxn ang="0">
                <a:pos x="352" y="336"/>
              </a:cxn>
              <a:cxn ang="0">
                <a:pos x="352" y="330"/>
              </a:cxn>
              <a:cxn ang="0">
                <a:pos x="350" y="326"/>
              </a:cxn>
              <a:cxn ang="0">
                <a:pos x="352" y="316"/>
              </a:cxn>
              <a:cxn ang="0">
                <a:pos x="356" y="312"/>
              </a:cxn>
              <a:cxn ang="0">
                <a:pos x="364" y="302"/>
              </a:cxn>
              <a:cxn ang="0">
                <a:pos x="368" y="288"/>
              </a:cxn>
              <a:cxn ang="0">
                <a:pos x="366" y="278"/>
              </a:cxn>
              <a:cxn ang="0">
                <a:pos x="362" y="270"/>
              </a:cxn>
              <a:cxn ang="0">
                <a:pos x="360" y="258"/>
              </a:cxn>
              <a:cxn ang="0">
                <a:pos x="364" y="248"/>
              </a:cxn>
              <a:cxn ang="0">
                <a:pos x="370" y="244"/>
              </a:cxn>
              <a:cxn ang="0">
                <a:pos x="376" y="230"/>
              </a:cxn>
              <a:cxn ang="0">
                <a:pos x="376" y="224"/>
              </a:cxn>
            </a:cxnLst>
            <a:rect l="0" t="0" r="r" b="b"/>
            <a:pathLst>
              <a:path w="384" h="384">
                <a:moveTo>
                  <a:pt x="0" y="384"/>
                </a:moveTo>
                <a:lnTo>
                  <a:pt x="64" y="384"/>
                </a:lnTo>
                <a:lnTo>
                  <a:pt x="64" y="176"/>
                </a:lnTo>
                <a:lnTo>
                  <a:pt x="0" y="176"/>
                </a:lnTo>
                <a:lnTo>
                  <a:pt x="0" y="384"/>
                </a:lnTo>
                <a:close/>
                <a:moveTo>
                  <a:pt x="376" y="224"/>
                </a:moveTo>
                <a:lnTo>
                  <a:pt x="376" y="224"/>
                </a:lnTo>
                <a:lnTo>
                  <a:pt x="374" y="214"/>
                </a:lnTo>
                <a:lnTo>
                  <a:pt x="370" y="206"/>
                </a:lnTo>
                <a:lnTo>
                  <a:pt x="370" y="206"/>
                </a:lnTo>
                <a:lnTo>
                  <a:pt x="368" y="200"/>
                </a:lnTo>
                <a:lnTo>
                  <a:pt x="368" y="194"/>
                </a:lnTo>
                <a:lnTo>
                  <a:pt x="370" y="188"/>
                </a:lnTo>
                <a:lnTo>
                  <a:pt x="372" y="184"/>
                </a:lnTo>
                <a:lnTo>
                  <a:pt x="372" y="184"/>
                </a:lnTo>
                <a:lnTo>
                  <a:pt x="378" y="180"/>
                </a:lnTo>
                <a:lnTo>
                  <a:pt x="382" y="174"/>
                </a:lnTo>
                <a:lnTo>
                  <a:pt x="384" y="166"/>
                </a:lnTo>
                <a:lnTo>
                  <a:pt x="384" y="160"/>
                </a:lnTo>
                <a:lnTo>
                  <a:pt x="384" y="160"/>
                </a:lnTo>
                <a:lnTo>
                  <a:pt x="384" y="154"/>
                </a:lnTo>
                <a:lnTo>
                  <a:pt x="382" y="148"/>
                </a:lnTo>
                <a:lnTo>
                  <a:pt x="374" y="138"/>
                </a:lnTo>
                <a:lnTo>
                  <a:pt x="364" y="130"/>
                </a:lnTo>
                <a:lnTo>
                  <a:pt x="358" y="128"/>
                </a:lnTo>
                <a:lnTo>
                  <a:pt x="352" y="128"/>
                </a:lnTo>
                <a:lnTo>
                  <a:pt x="272" y="128"/>
                </a:lnTo>
                <a:lnTo>
                  <a:pt x="272" y="128"/>
                </a:lnTo>
                <a:lnTo>
                  <a:pt x="280" y="108"/>
                </a:lnTo>
                <a:lnTo>
                  <a:pt x="286" y="88"/>
                </a:lnTo>
                <a:lnTo>
                  <a:pt x="288" y="76"/>
                </a:lnTo>
                <a:lnTo>
                  <a:pt x="288" y="64"/>
                </a:lnTo>
                <a:lnTo>
                  <a:pt x="288" y="64"/>
                </a:lnTo>
                <a:lnTo>
                  <a:pt x="286" y="44"/>
                </a:lnTo>
                <a:lnTo>
                  <a:pt x="284" y="34"/>
                </a:lnTo>
                <a:lnTo>
                  <a:pt x="280" y="24"/>
                </a:lnTo>
                <a:lnTo>
                  <a:pt x="274" y="14"/>
                </a:lnTo>
                <a:lnTo>
                  <a:pt x="268" y="6"/>
                </a:lnTo>
                <a:lnTo>
                  <a:pt x="258" y="2"/>
                </a:lnTo>
                <a:lnTo>
                  <a:pt x="248" y="0"/>
                </a:lnTo>
                <a:lnTo>
                  <a:pt x="248" y="0"/>
                </a:lnTo>
                <a:lnTo>
                  <a:pt x="238" y="2"/>
                </a:lnTo>
                <a:lnTo>
                  <a:pt x="232" y="4"/>
                </a:lnTo>
                <a:lnTo>
                  <a:pt x="228" y="10"/>
                </a:lnTo>
                <a:lnTo>
                  <a:pt x="226" y="16"/>
                </a:lnTo>
                <a:lnTo>
                  <a:pt x="226" y="16"/>
                </a:lnTo>
                <a:lnTo>
                  <a:pt x="224" y="40"/>
                </a:lnTo>
                <a:lnTo>
                  <a:pt x="220" y="62"/>
                </a:lnTo>
                <a:lnTo>
                  <a:pt x="214" y="78"/>
                </a:lnTo>
                <a:lnTo>
                  <a:pt x="208" y="92"/>
                </a:lnTo>
                <a:lnTo>
                  <a:pt x="202" y="100"/>
                </a:lnTo>
                <a:lnTo>
                  <a:pt x="198" y="108"/>
                </a:lnTo>
                <a:lnTo>
                  <a:pt x="192" y="112"/>
                </a:lnTo>
                <a:lnTo>
                  <a:pt x="80" y="192"/>
                </a:lnTo>
                <a:lnTo>
                  <a:pt x="80" y="352"/>
                </a:lnTo>
                <a:lnTo>
                  <a:pt x="80" y="352"/>
                </a:lnTo>
                <a:lnTo>
                  <a:pt x="92" y="358"/>
                </a:lnTo>
                <a:lnTo>
                  <a:pt x="120" y="368"/>
                </a:lnTo>
                <a:lnTo>
                  <a:pt x="140" y="374"/>
                </a:lnTo>
                <a:lnTo>
                  <a:pt x="162" y="380"/>
                </a:lnTo>
                <a:lnTo>
                  <a:pt x="184" y="382"/>
                </a:lnTo>
                <a:lnTo>
                  <a:pt x="208" y="384"/>
                </a:lnTo>
                <a:lnTo>
                  <a:pt x="224" y="384"/>
                </a:lnTo>
                <a:lnTo>
                  <a:pt x="224" y="384"/>
                </a:lnTo>
                <a:lnTo>
                  <a:pt x="252" y="384"/>
                </a:lnTo>
                <a:lnTo>
                  <a:pt x="276" y="380"/>
                </a:lnTo>
                <a:lnTo>
                  <a:pt x="298" y="376"/>
                </a:lnTo>
                <a:lnTo>
                  <a:pt x="318" y="370"/>
                </a:lnTo>
                <a:lnTo>
                  <a:pt x="332" y="362"/>
                </a:lnTo>
                <a:lnTo>
                  <a:pt x="342" y="354"/>
                </a:lnTo>
                <a:lnTo>
                  <a:pt x="350" y="346"/>
                </a:lnTo>
                <a:lnTo>
                  <a:pt x="352" y="336"/>
                </a:lnTo>
                <a:lnTo>
                  <a:pt x="352" y="336"/>
                </a:lnTo>
                <a:lnTo>
                  <a:pt x="352" y="330"/>
                </a:lnTo>
                <a:lnTo>
                  <a:pt x="352" y="330"/>
                </a:lnTo>
                <a:lnTo>
                  <a:pt x="350" y="326"/>
                </a:lnTo>
                <a:lnTo>
                  <a:pt x="352" y="320"/>
                </a:lnTo>
                <a:lnTo>
                  <a:pt x="352" y="316"/>
                </a:lnTo>
                <a:lnTo>
                  <a:pt x="356" y="312"/>
                </a:lnTo>
                <a:lnTo>
                  <a:pt x="356" y="312"/>
                </a:lnTo>
                <a:lnTo>
                  <a:pt x="362" y="308"/>
                </a:lnTo>
                <a:lnTo>
                  <a:pt x="364" y="302"/>
                </a:lnTo>
                <a:lnTo>
                  <a:pt x="368" y="296"/>
                </a:lnTo>
                <a:lnTo>
                  <a:pt x="368" y="288"/>
                </a:lnTo>
                <a:lnTo>
                  <a:pt x="368" y="288"/>
                </a:lnTo>
                <a:lnTo>
                  <a:pt x="366" y="278"/>
                </a:lnTo>
                <a:lnTo>
                  <a:pt x="362" y="270"/>
                </a:lnTo>
                <a:lnTo>
                  <a:pt x="362" y="270"/>
                </a:lnTo>
                <a:lnTo>
                  <a:pt x="360" y="264"/>
                </a:lnTo>
                <a:lnTo>
                  <a:pt x="360" y="258"/>
                </a:lnTo>
                <a:lnTo>
                  <a:pt x="362" y="252"/>
                </a:lnTo>
                <a:lnTo>
                  <a:pt x="364" y="248"/>
                </a:lnTo>
                <a:lnTo>
                  <a:pt x="364" y="248"/>
                </a:lnTo>
                <a:lnTo>
                  <a:pt x="370" y="244"/>
                </a:lnTo>
                <a:lnTo>
                  <a:pt x="374" y="238"/>
                </a:lnTo>
                <a:lnTo>
                  <a:pt x="376" y="230"/>
                </a:lnTo>
                <a:lnTo>
                  <a:pt x="376" y="224"/>
                </a:lnTo>
                <a:lnTo>
                  <a:pt x="376" y="224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/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052528" y="2447623"/>
            <a:ext cx="618751" cy="618750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337316" y="2513382"/>
            <a:ext cx="618751" cy="585000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606563" y="2513382"/>
            <a:ext cx="630000" cy="618750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052528" y="4374583"/>
            <a:ext cx="618751" cy="618750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307816" y="4408333"/>
            <a:ext cx="618751" cy="585000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692725" y="4460533"/>
            <a:ext cx="618751" cy="618750"/>
          </a:xfrm>
          <a:prstGeom prst="rect">
            <a:avLst/>
          </a:prstGeom>
        </p:spPr>
      </p:pic>
      <p:sp>
        <p:nvSpPr>
          <p:cNvPr id="91" name="Овал 90"/>
          <p:cNvSpPr/>
          <p:nvPr/>
        </p:nvSpPr>
        <p:spPr>
          <a:xfrm>
            <a:off x="3853688" y="2269657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6137580" y="2302414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8432440" y="2320114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4" name="Овал 93"/>
          <p:cNvSpPr/>
          <p:nvPr/>
        </p:nvSpPr>
        <p:spPr>
          <a:xfrm>
            <a:off x="8511824" y="4271362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6118149" y="4204166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6" name="Овал 95"/>
          <p:cNvSpPr/>
          <p:nvPr/>
        </p:nvSpPr>
        <p:spPr>
          <a:xfrm>
            <a:off x="3853688" y="4204166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45500" y="1169518"/>
            <a:ext cx="111552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Активируйте промо-код </a:t>
            </a:r>
            <a:r>
              <a:rPr lang="ru-RU" sz="2000" b="1" dirty="0" smtClean="0">
                <a:solidFill>
                  <a:srgbClr val="FF0000"/>
                </a:solidFill>
              </a:rPr>
              <a:t>5books</a:t>
            </a:r>
            <a:r>
              <a:rPr lang="ru-RU" sz="1600" b="1" dirty="0" smtClean="0">
                <a:solidFill>
                  <a:srgbClr val="2D3494"/>
                </a:solidFill>
              </a:rPr>
              <a:t> </a:t>
            </a:r>
            <a:r>
              <a:rPr lang="ru-RU" dirty="0" smtClean="0"/>
              <a:t>на сайте</a:t>
            </a:r>
            <a:r>
              <a:rPr lang="ru-RU" dirty="0" smtClean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lecta.rosuchebnik.ru</a:t>
            </a:r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ru-RU" sz="1600" dirty="0" smtClean="0"/>
              <a:t>и получите </a:t>
            </a:r>
            <a:r>
              <a:rPr lang="ru-RU" sz="1600" b="1" dirty="0">
                <a:solidFill>
                  <a:srgbClr val="2D3494"/>
                </a:solidFill>
              </a:rPr>
              <a:t>БЕСПЛАТНЫЙ</a:t>
            </a:r>
            <a:r>
              <a:rPr lang="ru-RU" sz="1600" dirty="0"/>
              <a:t> доступ к электронным учебникам и уникальным сервисам на </a:t>
            </a:r>
            <a:r>
              <a:rPr lang="ru-RU" sz="1600" dirty="0" smtClean="0"/>
              <a:t>сайте </a:t>
            </a:r>
            <a:r>
              <a:rPr lang="en-US" sz="1600" dirty="0"/>
              <a:t>L</a:t>
            </a:r>
            <a:r>
              <a:rPr lang="ru-RU" sz="1600" dirty="0"/>
              <a:t>ЕСТА</a:t>
            </a:r>
            <a:r>
              <a:rPr lang="ru-RU" sz="1600" dirty="0" smtClean="0"/>
              <a:t>:</a:t>
            </a:r>
            <a:endParaRPr lang="ru-RU" sz="1600" dirty="0"/>
          </a:p>
        </p:txBody>
      </p:sp>
    </p:spTree>
    <p:extLst>
      <p:ext uri="{BB962C8B-B14F-4D97-AF65-F5344CB8AC3E}">
        <p14:creationId xmlns="" xmlns:p14="http://schemas.microsoft.com/office/powerpoint/2010/main" val="261338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5" descr="D:\Masha\черная пятница\!!!Мероприятия\18-09-26 Презентация для ЦУИТ\лекта и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852" r="22473" b="5103"/>
          <a:stretch>
            <a:fillRect/>
          </a:stretch>
        </p:blipFill>
        <p:spPr bwMode="auto">
          <a:xfrm>
            <a:off x="6770699" y="0"/>
            <a:ext cx="54213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олилиния 16"/>
          <p:cNvSpPr/>
          <p:nvPr/>
        </p:nvSpPr>
        <p:spPr>
          <a:xfrm>
            <a:off x="6586603" y="0"/>
            <a:ext cx="3289303" cy="6858000"/>
          </a:xfrm>
          <a:custGeom>
            <a:avLst/>
            <a:gdLst>
              <a:gd name="connsiteX0" fmla="*/ 0 w 1714512"/>
              <a:gd name="connsiteY0" fmla="*/ 6854428 h 6854428"/>
              <a:gd name="connsiteX1" fmla="*/ 0 w 1714512"/>
              <a:gd name="connsiteY1" fmla="*/ 0 h 6854428"/>
              <a:gd name="connsiteX2" fmla="*/ 1714512 w 1714512"/>
              <a:gd name="connsiteY2" fmla="*/ 6854428 h 6854428"/>
              <a:gd name="connsiteX3" fmla="*/ 0 w 1714512"/>
              <a:gd name="connsiteY3" fmla="*/ 6854428 h 6854428"/>
              <a:gd name="connsiteX0" fmla="*/ 619172 w 2333684"/>
              <a:gd name="connsiteY0" fmla="*/ 6858000 h 6858000"/>
              <a:gd name="connsiteX1" fmla="*/ 0 w 2333684"/>
              <a:gd name="connsiteY1" fmla="*/ 0 h 6858000"/>
              <a:gd name="connsiteX2" fmla="*/ 2333684 w 2333684"/>
              <a:gd name="connsiteY2" fmla="*/ 6858000 h 6858000"/>
              <a:gd name="connsiteX3" fmla="*/ 619172 w 2333684"/>
              <a:gd name="connsiteY3" fmla="*/ 6858000 h 6858000"/>
              <a:gd name="connsiteX0" fmla="*/ 809716 w 2524228"/>
              <a:gd name="connsiteY0" fmla="*/ 6858000 h 6858000"/>
              <a:gd name="connsiteX1" fmla="*/ 0 w 2524228"/>
              <a:gd name="connsiteY1" fmla="*/ 0 h 6858000"/>
              <a:gd name="connsiteX2" fmla="*/ 2524228 w 2524228"/>
              <a:gd name="connsiteY2" fmla="*/ 6858000 h 6858000"/>
              <a:gd name="connsiteX3" fmla="*/ 809716 w 2524228"/>
              <a:gd name="connsiteY3" fmla="*/ 6858000 h 6858000"/>
              <a:gd name="connsiteX0" fmla="*/ 0 w 2690874"/>
              <a:gd name="connsiteY0" fmla="*/ 6858000 h 6858000"/>
              <a:gd name="connsiteX1" fmla="*/ 166646 w 2690874"/>
              <a:gd name="connsiteY1" fmla="*/ 0 h 6858000"/>
              <a:gd name="connsiteX2" fmla="*/ 2690874 w 2690874"/>
              <a:gd name="connsiteY2" fmla="*/ 6858000 h 6858000"/>
              <a:gd name="connsiteX3" fmla="*/ 0 w 2690874"/>
              <a:gd name="connsiteY3" fmla="*/ 6858000 h 6858000"/>
              <a:gd name="connsiteX0" fmla="*/ 0 w 2071702"/>
              <a:gd name="connsiteY0" fmla="*/ 6858000 h 6858000"/>
              <a:gd name="connsiteX1" fmla="*/ 166646 w 2071702"/>
              <a:gd name="connsiteY1" fmla="*/ 0 h 6858000"/>
              <a:gd name="connsiteX2" fmla="*/ 2071702 w 2071702"/>
              <a:gd name="connsiteY2" fmla="*/ 6858000 h 6858000"/>
              <a:gd name="connsiteX3" fmla="*/ 0 w 2071702"/>
              <a:gd name="connsiteY3" fmla="*/ 6858000 h 6858000"/>
              <a:gd name="connsiteX0" fmla="*/ 0 w 3024166"/>
              <a:gd name="connsiteY0" fmla="*/ 6858000 h 6858000"/>
              <a:gd name="connsiteX1" fmla="*/ 166646 w 3024166"/>
              <a:gd name="connsiteY1" fmla="*/ 0 h 6858000"/>
              <a:gd name="connsiteX2" fmla="*/ 3024166 w 3024166"/>
              <a:gd name="connsiteY2" fmla="*/ 6858000 h 6858000"/>
              <a:gd name="connsiteX3" fmla="*/ 0 w 3024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4166" h="6858000">
                <a:moveTo>
                  <a:pt x="0" y="6858000"/>
                </a:moveTo>
                <a:lnTo>
                  <a:pt x="166646" y="0"/>
                </a:lnTo>
                <a:lnTo>
                  <a:pt x="302416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4338" name="Object 65" hidden="1"/>
          <p:cNvGraphicFramePr>
            <a:graphicFrameLocks noChangeAspect="1"/>
          </p:cNvGraphicFramePr>
          <p:nvPr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p:oleObj spid="_x0000_s361553" name="think-cell Slide" r:id="rId5" imgW="360" imgH="360" progId="">
              <p:embed/>
            </p:oleObj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ru-RU" sz="16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343" name="Picture 11" descr="D:\Masha\черная пятница\!Фирменные стили и логотипы\Логотипы\все логотипы россыпью-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57" y="607503"/>
            <a:ext cx="2142035" cy="6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622331" y="2234258"/>
            <a:ext cx="2232025" cy="18002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71476" y="1916835"/>
            <a:ext cx="59405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2D3494"/>
                </a:solidFill>
                <a:latin typeface="Calibri" pitchFamily="34" charset="0"/>
              </a:rPr>
              <a:t>КНИГАВЫДАЧ</a:t>
            </a:r>
            <a:r>
              <a:rPr lang="ru-RU" sz="1600" dirty="0">
                <a:solidFill>
                  <a:srgbClr val="2D3494"/>
                </a:solidFill>
                <a:latin typeface="Calibri" pitchFamily="34" charset="0"/>
              </a:rPr>
              <a:t>А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– возможность обеспечить школу учебниками, сэкономить время и средства.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23875" y="2556693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1</a:t>
            </a:r>
          </a:p>
          <a:p>
            <a:pPr algn="ctr"/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учебник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295264" y="2556693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500</a:t>
            </a:r>
          </a:p>
          <a:p>
            <a:pPr algn="ctr"/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дней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066653" y="2587369"/>
            <a:ext cx="1707720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ЛЮБЫЕ</a:t>
            </a:r>
            <a:r>
              <a:rPr lang="ru-RU" sz="32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стройства пользователя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38043" y="2556693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75</a:t>
            </a:r>
          </a:p>
          <a:p>
            <a:pPr algn="ctr"/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блей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00669" y="3772380"/>
            <a:ext cx="7429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Calibri" pitchFamily="34" charset="0"/>
              </a:rPr>
              <a:t>В библиотеке платформы </a:t>
            </a:r>
            <a:r>
              <a:rPr lang="en-US" sz="1600" dirty="0" smtClean="0">
                <a:latin typeface="Calibri" pitchFamily="34" charset="0"/>
              </a:rPr>
              <a:t>LECTA </a:t>
            </a:r>
            <a:r>
              <a:rPr lang="ru-RU" sz="1600" b="1" dirty="0" smtClean="0">
                <a:latin typeface="Calibri" pitchFamily="34" charset="0"/>
              </a:rPr>
              <a:t>более 500 учебников в электронной форме </a:t>
            </a:r>
            <a:r>
              <a:rPr lang="ru-RU" sz="1600" dirty="0" smtClean="0">
                <a:latin typeface="Calibri" pitchFamily="34" charset="0"/>
              </a:rPr>
              <a:t>(ЭФУ) и </a:t>
            </a:r>
            <a:r>
              <a:rPr lang="ru-RU" sz="1600" dirty="0" err="1" smtClean="0">
                <a:latin typeface="Calibri" pitchFamily="34" charset="0"/>
              </a:rPr>
              <a:t>аудиприложений</a:t>
            </a:r>
            <a:r>
              <a:rPr lang="ru-RU" sz="1600" dirty="0" smtClean="0">
                <a:latin typeface="Calibri" pitchFamily="34" charset="0"/>
              </a:rPr>
              <a:t> по всей школьной программе.</a:t>
            </a:r>
            <a:endParaRPr lang="ru-RU" sz="1600" dirty="0">
              <a:latin typeface="Calibri Light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1666875" y="5013836"/>
            <a:ext cx="5000625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В соответствии с Приказами </a:t>
            </a:r>
            <a:r>
              <a:rPr lang="ru-RU" altLang="ru-RU" sz="14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МОиН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 РФ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№</a:t>
            </a:r>
            <a:r>
              <a:rPr lang="en-US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1047 от 05.09.2013, №</a:t>
            </a:r>
            <a:r>
              <a:rPr lang="en-US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870 от 18.07.2016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электронные формы учебника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приравниваются к бумажным и </a:t>
            </a:r>
            <a:r>
              <a: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могут быть приобретены за бюджетные </a:t>
            </a:r>
            <a:r>
              <a:rPr lang="ru-RU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 Light" pitchFamily="34" charset="0"/>
                <a:sym typeface="Open Sans Light" charset="0"/>
              </a:rPr>
              <a:t>средства (уточнить на соответствие новому приказу)</a:t>
            </a: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Calibri Light" pitchFamily="34" charset="0"/>
              <a:sym typeface="Open Sans Light" charset="0"/>
            </a:endParaRPr>
          </a:p>
        </p:txBody>
      </p:sp>
      <p:grpSp>
        <p:nvGrpSpPr>
          <p:cNvPr id="92" name="Группа 91"/>
          <p:cNvGrpSpPr/>
          <p:nvPr/>
        </p:nvGrpSpPr>
        <p:grpSpPr>
          <a:xfrm>
            <a:off x="523875" y="5105675"/>
            <a:ext cx="928688" cy="928687"/>
            <a:chOff x="523875" y="5500688"/>
            <a:chExt cx="928688" cy="928687"/>
          </a:xfrm>
        </p:grpSpPr>
        <p:sp>
          <p:nvSpPr>
            <p:cNvPr id="93" name="Овал 92"/>
            <p:cNvSpPr/>
            <p:nvPr/>
          </p:nvSpPr>
          <p:spPr>
            <a:xfrm>
              <a:off x="523875" y="5500688"/>
              <a:ext cx="928688" cy="9286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4" name="Freeform 34"/>
            <p:cNvSpPr>
              <a:spLocks noEditPoints="1"/>
            </p:cNvSpPr>
            <p:nvPr/>
          </p:nvSpPr>
          <p:spPr bwMode="auto">
            <a:xfrm>
              <a:off x="738188" y="5643563"/>
              <a:ext cx="530225" cy="685800"/>
            </a:xfrm>
            <a:custGeom>
              <a:avLst/>
              <a:gdLst>
                <a:gd name="T0" fmla="*/ 247 w 361"/>
                <a:gd name="T1" fmla="*/ 0 h 466"/>
                <a:gd name="T2" fmla="*/ 0 w 361"/>
                <a:gd name="T3" fmla="*/ 0 h 466"/>
                <a:gd name="T4" fmla="*/ 0 w 361"/>
                <a:gd name="T5" fmla="*/ 466 h 466"/>
                <a:gd name="T6" fmla="*/ 361 w 361"/>
                <a:gd name="T7" fmla="*/ 466 h 466"/>
                <a:gd name="T8" fmla="*/ 361 w 361"/>
                <a:gd name="T9" fmla="*/ 126 h 466"/>
                <a:gd name="T10" fmla="*/ 247 w 361"/>
                <a:gd name="T11" fmla="*/ 0 h 466"/>
                <a:gd name="T12" fmla="*/ 329 w 361"/>
                <a:gd name="T13" fmla="*/ 434 h 466"/>
                <a:gd name="T14" fmla="*/ 33 w 361"/>
                <a:gd name="T15" fmla="*/ 434 h 466"/>
                <a:gd name="T16" fmla="*/ 33 w 361"/>
                <a:gd name="T17" fmla="*/ 32 h 466"/>
                <a:gd name="T18" fmla="*/ 233 w 361"/>
                <a:gd name="T19" fmla="*/ 32 h 466"/>
                <a:gd name="T20" fmla="*/ 233 w 361"/>
                <a:gd name="T21" fmla="*/ 138 h 466"/>
                <a:gd name="T22" fmla="*/ 329 w 361"/>
                <a:gd name="T23" fmla="*/ 138 h 466"/>
                <a:gd name="T24" fmla="*/ 329 w 361"/>
                <a:gd name="T25" fmla="*/ 434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1" h="466">
                  <a:moveTo>
                    <a:pt x="247" y="0"/>
                  </a:moveTo>
                  <a:lnTo>
                    <a:pt x="0" y="0"/>
                  </a:lnTo>
                  <a:lnTo>
                    <a:pt x="0" y="466"/>
                  </a:lnTo>
                  <a:lnTo>
                    <a:pt x="361" y="466"/>
                  </a:lnTo>
                  <a:lnTo>
                    <a:pt x="361" y="126"/>
                  </a:lnTo>
                  <a:lnTo>
                    <a:pt x="247" y="0"/>
                  </a:lnTo>
                  <a:close/>
                  <a:moveTo>
                    <a:pt x="329" y="434"/>
                  </a:moveTo>
                  <a:lnTo>
                    <a:pt x="33" y="434"/>
                  </a:lnTo>
                  <a:lnTo>
                    <a:pt x="33" y="32"/>
                  </a:lnTo>
                  <a:lnTo>
                    <a:pt x="233" y="32"/>
                  </a:lnTo>
                  <a:lnTo>
                    <a:pt x="233" y="138"/>
                  </a:lnTo>
                  <a:lnTo>
                    <a:pt x="329" y="138"/>
                  </a:lnTo>
                  <a:lnTo>
                    <a:pt x="329" y="434"/>
                  </a:ln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95" name="Freeform 35"/>
            <p:cNvSpPr>
              <a:spLocks/>
            </p:cNvSpPr>
            <p:nvPr/>
          </p:nvSpPr>
          <p:spPr bwMode="auto">
            <a:xfrm>
              <a:off x="787400" y="5691188"/>
              <a:ext cx="433388" cy="590550"/>
            </a:xfrm>
            <a:custGeom>
              <a:avLst/>
              <a:gdLst>
                <a:gd name="T0" fmla="*/ 296 w 296"/>
                <a:gd name="T1" fmla="*/ 106 h 402"/>
                <a:gd name="T2" fmla="*/ 296 w 296"/>
                <a:gd name="T3" fmla="*/ 402 h 402"/>
                <a:gd name="T4" fmla="*/ 0 w 296"/>
                <a:gd name="T5" fmla="*/ 402 h 402"/>
                <a:gd name="T6" fmla="*/ 0 w 296"/>
                <a:gd name="T7" fmla="*/ 0 h 402"/>
                <a:gd name="T8" fmla="*/ 200 w 296"/>
                <a:gd name="T9" fmla="*/ 0 h 402"/>
                <a:gd name="T10" fmla="*/ 200 w 296"/>
                <a:gd name="T11" fmla="*/ 106 h 402"/>
                <a:gd name="T12" fmla="*/ 296 w 296"/>
                <a:gd name="T13" fmla="*/ 106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402">
                  <a:moveTo>
                    <a:pt x="296" y="106"/>
                  </a:moveTo>
                  <a:lnTo>
                    <a:pt x="296" y="402"/>
                  </a:lnTo>
                  <a:lnTo>
                    <a:pt x="0" y="402"/>
                  </a:lnTo>
                  <a:lnTo>
                    <a:pt x="0" y="0"/>
                  </a:lnTo>
                  <a:lnTo>
                    <a:pt x="200" y="0"/>
                  </a:lnTo>
                  <a:lnTo>
                    <a:pt x="200" y="106"/>
                  </a:lnTo>
                  <a:lnTo>
                    <a:pt x="296" y="1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96" name="Freeform 36"/>
            <p:cNvSpPr>
              <a:spLocks/>
            </p:cNvSpPr>
            <p:nvPr/>
          </p:nvSpPr>
          <p:spPr bwMode="auto">
            <a:xfrm>
              <a:off x="1041400" y="6029325"/>
              <a:ext cx="142875" cy="201613"/>
            </a:xfrm>
            <a:custGeom>
              <a:avLst/>
              <a:gdLst>
                <a:gd name="T0" fmla="*/ 0 w 98"/>
                <a:gd name="T1" fmla="*/ 117 h 137"/>
                <a:gd name="T2" fmla="*/ 38 w 98"/>
                <a:gd name="T3" fmla="*/ 137 h 137"/>
                <a:gd name="T4" fmla="*/ 98 w 98"/>
                <a:gd name="T5" fmla="*/ 19 h 137"/>
                <a:gd name="T6" fmla="*/ 60 w 98"/>
                <a:gd name="T7" fmla="*/ 0 h 137"/>
                <a:gd name="T8" fmla="*/ 0 w 98"/>
                <a:gd name="T9" fmla="*/ 11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37">
                  <a:moveTo>
                    <a:pt x="0" y="117"/>
                  </a:moveTo>
                  <a:lnTo>
                    <a:pt x="38" y="137"/>
                  </a:lnTo>
                  <a:lnTo>
                    <a:pt x="98" y="19"/>
                  </a:lnTo>
                  <a:lnTo>
                    <a:pt x="60" y="0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97" name="Freeform 37"/>
            <p:cNvSpPr>
              <a:spLocks/>
            </p:cNvSpPr>
            <p:nvPr/>
          </p:nvSpPr>
          <p:spPr bwMode="auto">
            <a:xfrm>
              <a:off x="1036638" y="6208713"/>
              <a:ext cx="55562" cy="58737"/>
            </a:xfrm>
            <a:custGeom>
              <a:avLst/>
              <a:gdLst>
                <a:gd name="T0" fmla="*/ 3 w 38"/>
                <a:gd name="T1" fmla="*/ 40 h 40"/>
                <a:gd name="T2" fmla="*/ 38 w 38"/>
                <a:gd name="T3" fmla="*/ 19 h 40"/>
                <a:gd name="T4" fmla="*/ 0 w 38"/>
                <a:gd name="T5" fmla="*/ 0 h 40"/>
                <a:gd name="T6" fmla="*/ 3 w 38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40">
                  <a:moveTo>
                    <a:pt x="3" y="40"/>
                  </a:moveTo>
                  <a:lnTo>
                    <a:pt x="38" y="19"/>
                  </a:lnTo>
                  <a:lnTo>
                    <a:pt x="0" y="0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98" name="Freeform 38"/>
            <p:cNvSpPr>
              <a:spLocks/>
            </p:cNvSpPr>
            <p:nvPr/>
          </p:nvSpPr>
          <p:spPr bwMode="auto">
            <a:xfrm>
              <a:off x="1139825" y="5970588"/>
              <a:ext cx="76200" cy="66675"/>
            </a:xfrm>
            <a:custGeom>
              <a:avLst/>
              <a:gdLst>
                <a:gd name="T0" fmla="*/ 52 w 52"/>
                <a:gd name="T1" fmla="*/ 20 h 46"/>
                <a:gd name="T2" fmla="*/ 14 w 52"/>
                <a:gd name="T3" fmla="*/ 0 h 46"/>
                <a:gd name="T4" fmla="*/ 0 w 52"/>
                <a:gd name="T5" fmla="*/ 26 h 46"/>
                <a:gd name="T6" fmla="*/ 38 w 52"/>
                <a:gd name="T7" fmla="*/ 46 h 46"/>
                <a:gd name="T8" fmla="*/ 52 w 52"/>
                <a:gd name="T9" fmla="*/ 2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6">
                  <a:moveTo>
                    <a:pt x="52" y="20"/>
                  </a:moveTo>
                  <a:lnTo>
                    <a:pt x="14" y="0"/>
                  </a:lnTo>
                  <a:lnTo>
                    <a:pt x="0" y="26"/>
                  </a:lnTo>
                  <a:lnTo>
                    <a:pt x="38" y="46"/>
                  </a:lnTo>
                  <a:lnTo>
                    <a:pt x="52" y="20"/>
                  </a:ln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99" name="Freeform 40"/>
            <p:cNvSpPr>
              <a:spLocks/>
            </p:cNvSpPr>
            <p:nvPr/>
          </p:nvSpPr>
          <p:spPr bwMode="auto">
            <a:xfrm>
              <a:off x="831850" y="5757863"/>
              <a:ext cx="173038" cy="23812"/>
            </a:xfrm>
            <a:custGeom>
              <a:avLst/>
              <a:gdLst>
                <a:gd name="T0" fmla="*/ 117 w 125"/>
                <a:gd name="T1" fmla="*/ 17 h 17"/>
                <a:gd name="T2" fmla="*/ 8 w 125"/>
                <a:gd name="T3" fmla="*/ 17 h 17"/>
                <a:gd name="T4" fmla="*/ 0 w 125"/>
                <a:gd name="T5" fmla="*/ 8 h 17"/>
                <a:gd name="T6" fmla="*/ 8 w 125"/>
                <a:gd name="T7" fmla="*/ 0 h 17"/>
                <a:gd name="T8" fmla="*/ 117 w 125"/>
                <a:gd name="T9" fmla="*/ 0 h 17"/>
                <a:gd name="T10" fmla="*/ 125 w 125"/>
                <a:gd name="T11" fmla="*/ 8 h 17"/>
                <a:gd name="T12" fmla="*/ 117 w 12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17">
                  <a:moveTo>
                    <a:pt x="117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2" y="0"/>
                    <a:pt x="125" y="4"/>
                    <a:pt x="125" y="8"/>
                  </a:cubicBezTo>
                  <a:cubicBezTo>
                    <a:pt x="125" y="13"/>
                    <a:pt x="122" y="17"/>
                    <a:pt x="117" y="17"/>
                  </a:cubicBez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100" name="Freeform 41"/>
            <p:cNvSpPr>
              <a:spLocks/>
            </p:cNvSpPr>
            <p:nvPr/>
          </p:nvSpPr>
          <p:spPr bwMode="auto">
            <a:xfrm>
              <a:off x="831850" y="5816600"/>
              <a:ext cx="173038" cy="22225"/>
            </a:xfrm>
            <a:custGeom>
              <a:avLst/>
              <a:gdLst>
                <a:gd name="T0" fmla="*/ 117 w 125"/>
                <a:gd name="T1" fmla="*/ 16 h 16"/>
                <a:gd name="T2" fmla="*/ 8 w 125"/>
                <a:gd name="T3" fmla="*/ 16 h 16"/>
                <a:gd name="T4" fmla="*/ 0 w 125"/>
                <a:gd name="T5" fmla="*/ 8 h 16"/>
                <a:gd name="T6" fmla="*/ 8 w 125"/>
                <a:gd name="T7" fmla="*/ 0 h 16"/>
                <a:gd name="T8" fmla="*/ 117 w 125"/>
                <a:gd name="T9" fmla="*/ 0 h 16"/>
                <a:gd name="T10" fmla="*/ 125 w 125"/>
                <a:gd name="T11" fmla="*/ 8 h 16"/>
                <a:gd name="T12" fmla="*/ 117 w 12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16">
                  <a:moveTo>
                    <a:pt x="11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2" y="0"/>
                    <a:pt x="125" y="4"/>
                    <a:pt x="125" y="8"/>
                  </a:cubicBezTo>
                  <a:cubicBezTo>
                    <a:pt x="125" y="13"/>
                    <a:pt x="122" y="16"/>
                    <a:pt x="117" y="16"/>
                  </a:cubicBez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101" name="Freeform 42"/>
            <p:cNvSpPr>
              <a:spLocks/>
            </p:cNvSpPr>
            <p:nvPr/>
          </p:nvSpPr>
          <p:spPr bwMode="auto">
            <a:xfrm>
              <a:off x="831850" y="5875338"/>
              <a:ext cx="341313" cy="22225"/>
            </a:xfrm>
            <a:custGeom>
              <a:avLst/>
              <a:gdLst>
                <a:gd name="T0" fmla="*/ 237 w 245"/>
                <a:gd name="T1" fmla="*/ 16 h 16"/>
                <a:gd name="T2" fmla="*/ 8 w 245"/>
                <a:gd name="T3" fmla="*/ 16 h 16"/>
                <a:gd name="T4" fmla="*/ 0 w 245"/>
                <a:gd name="T5" fmla="*/ 8 h 16"/>
                <a:gd name="T6" fmla="*/ 8 w 245"/>
                <a:gd name="T7" fmla="*/ 0 h 16"/>
                <a:gd name="T8" fmla="*/ 237 w 245"/>
                <a:gd name="T9" fmla="*/ 0 h 16"/>
                <a:gd name="T10" fmla="*/ 245 w 245"/>
                <a:gd name="T11" fmla="*/ 8 h 16"/>
                <a:gd name="T12" fmla="*/ 237 w 24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16">
                  <a:moveTo>
                    <a:pt x="23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2" y="0"/>
                    <a:pt x="245" y="4"/>
                    <a:pt x="245" y="8"/>
                  </a:cubicBezTo>
                  <a:cubicBezTo>
                    <a:pt x="245" y="13"/>
                    <a:pt x="242" y="16"/>
                    <a:pt x="237" y="16"/>
                  </a:cubicBez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102" name="Freeform 43"/>
            <p:cNvSpPr>
              <a:spLocks/>
            </p:cNvSpPr>
            <p:nvPr/>
          </p:nvSpPr>
          <p:spPr bwMode="auto">
            <a:xfrm>
              <a:off x="831850" y="5934075"/>
              <a:ext cx="341313" cy="22225"/>
            </a:xfrm>
            <a:custGeom>
              <a:avLst/>
              <a:gdLst>
                <a:gd name="T0" fmla="*/ 237 w 245"/>
                <a:gd name="T1" fmla="*/ 16 h 16"/>
                <a:gd name="T2" fmla="*/ 8 w 245"/>
                <a:gd name="T3" fmla="*/ 16 h 16"/>
                <a:gd name="T4" fmla="*/ 0 w 245"/>
                <a:gd name="T5" fmla="*/ 8 h 16"/>
                <a:gd name="T6" fmla="*/ 8 w 245"/>
                <a:gd name="T7" fmla="*/ 0 h 16"/>
                <a:gd name="T8" fmla="*/ 237 w 245"/>
                <a:gd name="T9" fmla="*/ 0 h 16"/>
                <a:gd name="T10" fmla="*/ 245 w 245"/>
                <a:gd name="T11" fmla="*/ 8 h 16"/>
                <a:gd name="T12" fmla="*/ 237 w 24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16">
                  <a:moveTo>
                    <a:pt x="23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2" y="0"/>
                    <a:pt x="245" y="4"/>
                    <a:pt x="245" y="8"/>
                  </a:cubicBezTo>
                  <a:cubicBezTo>
                    <a:pt x="245" y="13"/>
                    <a:pt x="242" y="16"/>
                    <a:pt x="237" y="16"/>
                  </a:cubicBez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103" name="Freeform 44"/>
            <p:cNvSpPr>
              <a:spLocks noEditPoints="1"/>
            </p:cNvSpPr>
            <p:nvPr/>
          </p:nvSpPr>
          <p:spPr bwMode="auto">
            <a:xfrm>
              <a:off x="827088" y="6135688"/>
              <a:ext cx="185737" cy="103187"/>
            </a:xfrm>
            <a:custGeom>
              <a:avLst/>
              <a:gdLst>
                <a:gd name="T0" fmla="*/ 132 w 133"/>
                <a:gd name="T1" fmla="*/ 61 h 74"/>
                <a:gd name="T2" fmla="*/ 131 w 133"/>
                <a:gd name="T3" fmla="*/ 56 h 74"/>
                <a:gd name="T4" fmla="*/ 116 w 133"/>
                <a:gd name="T5" fmla="*/ 51 h 74"/>
                <a:gd name="T6" fmla="*/ 106 w 133"/>
                <a:gd name="T7" fmla="*/ 50 h 74"/>
                <a:gd name="T8" fmla="*/ 117 w 133"/>
                <a:gd name="T9" fmla="*/ 41 h 74"/>
                <a:gd name="T10" fmla="*/ 117 w 133"/>
                <a:gd name="T11" fmla="*/ 34 h 74"/>
                <a:gd name="T12" fmla="*/ 113 w 133"/>
                <a:gd name="T13" fmla="*/ 31 h 74"/>
                <a:gd name="T14" fmla="*/ 102 w 133"/>
                <a:gd name="T15" fmla="*/ 28 h 74"/>
                <a:gd name="T16" fmla="*/ 106 w 133"/>
                <a:gd name="T17" fmla="*/ 9 h 74"/>
                <a:gd name="T18" fmla="*/ 94 w 133"/>
                <a:gd name="T19" fmla="*/ 1 h 74"/>
                <a:gd name="T20" fmla="*/ 74 w 133"/>
                <a:gd name="T21" fmla="*/ 1 h 74"/>
                <a:gd name="T22" fmla="*/ 55 w 133"/>
                <a:gd name="T23" fmla="*/ 7 h 74"/>
                <a:gd name="T24" fmla="*/ 33 w 133"/>
                <a:gd name="T25" fmla="*/ 21 h 74"/>
                <a:gd name="T26" fmla="*/ 15 w 133"/>
                <a:gd name="T27" fmla="*/ 39 h 74"/>
                <a:gd name="T28" fmla="*/ 8 w 133"/>
                <a:gd name="T29" fmla="*/ 51 h 74"/>
                <a:gd name="T30" fmla="*/ 1 w 133"/>
                <a:gd name="T31" fmla="*/ 68 h 74"/>
                <a:gd name="T32" fmla="*/ 0 w 133"/>
                <a:gd name="T33" fmla="*/ 73 h 74"/>
                <a:gd name="T34" fmla="*/ 0 w 133"/>
                <a:gd name="T35" fmla="*/ 73 h 74"/>
                <a:gd name="T36" fmla="*/ 2 w 133"/>
                <a:gd name="T37" fmla="*/ 68 h 74"/>
                <a:gd name="T38" fmla="*/ 12 w 133"/>
                <a:gd name="T39" fmla="*/ 53 h 74"/>
                <a:gd name="T40" fmla="*/ 19 w 133"/>
                <a:gd name="T41" fmla="*/ 43 h 74"/>
                <a:gd name="T42" fmla="*/ 37 w 133"/>
                <a:gd name="T43" fmla="*/ 27 h 74"/>
                <a:gd name="T44" fmla="*/ 59 w 133"/>
                <a:gd name="T45" fmla="*/ 16 h 74"/>
                <a:gd name="T46" fmla="*/ 76 w 133"/>
                <a:gd name="T47" fmla="*/ 11 h 74"/>
                <a:gd name="T48" fmla="*/ 93 w 133"/>
                <a:gd name="T49" fmla="*/ 12 h 74"/>
                <a:gd name="T50" fmla="*/ 96 w 133"/>
                <a:gd name="T51" fmla="*/ 14 h 74"/>
                <a:gd name="T52" fmla="*/ 85 w 133"/>
                <a:gd name="T53" fmla="*/ 30 h 74"/>
                <a:gd name="T54" fmla="*/ 59 w 133"/>
                <a:gd name="T55" fmla="*/ 40 h 74"/>
                <a:gd name="T56" fmla="*/ 50 w 133"/>
                <a:gd name="T57" fmla="*/ 53 h 74"/>
                <a:gd name="T58" fmla="*/ 56 w 133"/>
                <a:gd name="T59" fmla="*/ 59 h 74"/>
                <a:gd name="T60" fmla="*/ 82 w 133"/>
                <a:gd name="T61" fmla="*/ 48 h 74"/>
                <a:gd name="T62" fmla="*/ 93 w 133"/>
                <a:gd name="T63" fmla="*/ 39 h 74"/>
                <a:gd name="T64" fmla="*/ 105 w 133"/>
                <a:gd name="T65" fmla="*/ 38 h 74"/>
                <a:gd name="T66" fmla="*/ 109 w 133"/>
                <a:gd name="T67" fmla="*/ 39 h 74"/>
                <a:gd name="T68" fmla="*/ 103 w 133"/>
                <a:gd name="T69" fmla="*/ 43 h 74"/>
                <a:gd name="T70" fmla="*/ 93 w 133"/>
                <a:gd name="T71" fmla="*/ 49 h 74"/>
                <a:gd name="T72" fmla="*/ 94 w 133"/>
                <a:gd name="T73" fmla="*/ 55 h 74"/>
                <a:gd name="T74" fmla="*/ 100 w 133"/>
                <a:gd name="T75" fmla="*/ 55 h 74"/>
                <a:gd name="T76" fmla="*/ 115 w 133"/>
                <a:gd name="T77" fmla="*/ 54 h 74"/>
                <a:gd name="T78" fmla="*/ 130 w 133"/>
                <a:gd name="T79" fmla="*/ 56 h 74"/>
                <a:gd name="T80" fmla="*/ 131 w 133"/>
                <a:gd name="T81" fmla="*/ 61 h 74"/>
                <a:gd name="T82" fmla="*/ 131 w 133"/>
                <a:gd name="T83" fmla="*/ 61 h 74"/>
                <a:gd name="T84" fmla="*/ 133 w 133"/>
                <a:gd name="T85" fmla="*/ 61 h 74"/>
                <a:gd name="T86" fmla="*/ 110 w 133"/>
                <a:gd name="T87" fmla="*/ 38 h 74"/>
                <a:gd name="T88" fmla="*/ 110 w 133"/>
                <a:gd name="T89" fmla="*/ 3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3" h="74">
                  <a:moveTo>
                    <a:pt x="132" y="61"/>
                  </a:moveTo>
                  <a:cubicBezTo>
                    <a:pt x="132" y="61"/>
                    <a:pt x="132" y="61"/>
                    <a:pt x="132" y="61"/>
                  </a:cubicBezTo>
                  <a:cubicBezTo>
                    <a:pt x="132" y="60"/>
                    <a:pt x="132" y="59"/>
                    <a:pt x="132" y="58"/>
                  </a:cubicBezTo>
                  <a:cubicBezTo>
                    <a:pt x="132" y="57"/>
                    <a:pt x="132" y="56"/>
                    <a:pt x="131" y="56"/>
                  </a:cubicBezTo>
                  <a:cubicBezTo>
                    <a:pt x="129" y="54"/>
                    <a:pt x="128" y="53"/>
                    <a:pt x="126" y="53"/>
                  </a:cubicBezTo>
                  <a:cubicBezTo>
                    <a:pt x="123" y="52"/>
                    <a:pt x="119" y="51"/>
                    <a:pt x="116" y="51"/>
                  </a:cubicBezTo>
                  <a:cubicBezTo>
                    <a:pt x="112" y="50"/>
                    <a:pt x="109" y="50"/>
                    <a:pt x="106" y="50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8" y="49"/>
                    <a:pt x="110" y="48"/>
                    <a:pt x="112" y="47"/>
                  </a:cubicBezTo>
                  <a:cubicBezTo>
                    <a:pt x="114" y="45"/>
                    <a:pt x="115" y="44"/>
                    <a:pt x="117" y="41"/>
                  </a:cubicBezTo>
                  <a:cubicBezTo>
                    <a:pt x="118" y="40"/>
                    <a:pt x="118" y="39"/>
                    <a:pt x="118" y="38"/>
                  </a:cubicBezTo>
                  <a:cubicBezTo>
                    <a:pt x="118" y="37"/>
                    <a:pt x="118" y="35"/>
                    <a:pt x="117" y="34"/>
                  </a:cubicBezTo>
                  <a:cubicBezTo>
                    <a:pt x="116" y="34"/>
                    <a:pt x="116" y="33"/>
                    <a:pt x="115" y="32"/>
                  </a:cubicBezTo>
                  <a:cubicBezTo>
                    <a:pt x="115" y="32"/>
                    <a:pt x="114" y="31"/>
                    <a:pt x="113" y="31"/>
                  </a:cubicBezTo>
                  <a:cubicBezTo>
                    <a:pt x="111" y="30"/>
                    <a:pt x="108" y="29"/>
                    <a:pt x="106" y="29"/>
                  </a:cubicBezTo>
                  <a:cubicBezTo>
                    <a:pt x="105" y="29"/>
                    <a:pt x="103" y="29"/>
                    <a:pt x="102" y="28"/>
                  </a:cubicBezTo>
                  <a:cubicBezTo>
                    <a:pt x="104" y="25"/>
                    <a:pt x="107" y="21"/>
                    <a:pt x="107" y="15"/>
                  </a:cubicBezTo>
                  <a:cubicBezTo>
                    <a:pt x="107" y="13"/>
                    <a:pt x="107" y="11"/>
                    <a:pt x="106" y="9"/>
                  </a:cubicBezTo>
                  <a:cubicBezTo>
                    <a:pt x="106" y="7"/>
                    <a:pt x="104" y="6"/>
                    <a:pt x="103" y="5"/>
                  </a:cubicBezTo>
                  <a:cubicBezTo>
                    <a:pt x="100" y="2"/>
                    <a:pt x="97" y="2"/>
                    <a:pt x="94" y="1"/>
                  </a:cubicBezTo>
                  <a:cubicBezTo>
                    <a:pt x="90" y="0"/>
                    <a:pt x="85" y="0"/>
                    <a:pt x="81" y="0"/>
                  </a:cubicBezTo>
                  <a:cubicBezTo>
                    <a:pt x="78" y="0"/>
                    <a:pt x="76" y="1"/>
                    <a:pt x="74" y="1"/>
                  </a:cubicBezTo>
                  <a:cubicBezTo>
                    <a:pt x="72" y="2"/>
                    <a:pt x="70" y="2"/>
                    <a:pt x="67" y="2"/>
                  </a:cubicBezTo>
                  <a:cubicBezTo>
                    <a:pt x="63" y="4"/>
                    <a:pt x="59" y="5"/>
                    <a:pt x="55" y="7"/>
                  </a:cubicBezTo>
                  <a:cubicBezTo>
                    <a:pt x="51" y="9"/>
                    <a:pt x="47" y="11"/>
                    <a:pt x="43" y="13"/>
                  </a:cubicBezTo>
                  <a:cubicBezTo>
                    <a:pt x="40" y="16"/>
                    <a:pt x="36" y="18"/>
                    <a:pt x="33" y="21"/>
                  </a:cubicBezTo>
                  <a:cubicBezTo>
                    <a:pt x="29" y="24"/>
                    <a:pt x="26" y="27"/>
                    <a:pt x="23" y="30"/>
                  </a:cubicBezTo>
                  <a:cubicBezTo>
                    <a:pt x="20" y="33"/>
                    <a:pt x="17" y="36"/>
                    <a:pt x="15" y="39"/>
                  </a:cubicBezTo>
                  <a:cubicBezTo>
                    <a:pt x="13" y="41"/>
                    <a:pt x="12" y="43"/>
                    <a:pt x="11" y="45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6" y="54"/>
                    <a:pt x="5" y="58"/>
                    <a:pt x="3" y="62"/>
                  </a:cubicBezTo>
                  <a:cubicBezTo>
                    <a:pt x="2" y="64"/>
                    <a:pt x="1" y="66"/>
                    <a:pt x="1" y="68"/>
                  </a:cubicBezTo>
                  <a:cubicBezTo>
                    <a:pt x="0" y="69"/>
                    <a:pt x="0" y="70"/>
                    <a:pt x="0" y="71"/>
                  </a:cubicBezTo>
                  <a:cubicBezTo>
                    <a:pt x="0" y="72"/>
                    <a:pt x="0" y="72"/>
                    <a:pt x="0" y="73"/>
                  </a:cubicBezTo>
                  <a:cubicBezTo>
                    <a:pt x="0" y="73"/>
                    <a:pt x="0" y="74"/>
                    <a:pt x="0" y="74"/>
                  </a:cubicBezTo>
                  <a:cubicBezTo>
                    <a:pt x="0" y="74"/>
                    <a:pt x="0" y="73"/>
                    <a:pt x="0" y="73"/>
                  </a:cubicBezTo>
                  <a:cubicBezTo>
                    <a:pt x="0" y="72"/>
                    <a:pt x="0" y="72"/>
                    <a:pt x="0" y="71"/>
                  </a:cubicBezTo>
                  <a:cubicBezTo>
                    <a:pt x="1" y="70"/>
                    <a:pt x="1" y="69"/>
                    <a:pt x="2" y="68"/>
                  </a:cubicBezTo>
                  <a:cubicBezTo>
                    <a:pt x="3" y="67"/>
                    <a:pt x="4" y="65"/>
                    <a:pt x="5" y="63"/>
                  </a:cubicBezTo>
                  <a:cubicBezTo>
                    <a:pt x="7" y="60"/>
                    <a:pt x="9" y="56"/>
                    <a:pt x="12" y="53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6" y="46"/>
                    <a:pt x="18" y="44"/>
                    <a:pt x="19" y="43"/>
                  </a:cubicBezTo>
                  <a:cubicBezTo>
                    <a:pt x="22" y="40"/>
                    <a:pt x="25" y="37"/>
                    <a:pt x="28" y="34"/>
                  </a:cubicBezTo>
                  <a:cubicBezTo>
                    <a:pt x="31" y="32"/>
                    <a:pt x="34" y="29"/>
                    <a:pt x="37" y="27"/>
                  </a:cubicBezTo>
                  <a:cubicBezTo>
                    <a:pt x="41" y="25"/>
                    <a:pt x="44" y="23"/>
                    <a:pt x="48" y="21"/>
                  </a:cubicBezTo>
                  <a:cubicBezTo>
                    <a:pt x="51" y="19"/>
                    <a:pt x="55" y="17"/>
                    <a:pt x="59" y="16"/>
                  </a:cubicBezTo>
                  <a:cubicBezTo>
                    <a:pt x="62" y="14"/>
                    <a:pt x="66" y="13"/>
                    <a:pt x="70" y="12"/>
                  </a:cubicBezTo>
                  <a:cubicBezTo>
                    <a:pt x="72" y="12"/>
                    <a:pt x="74" y="12"/>
                    <a:pt x="76" y="11"/>
                  </a:cubicBezTo>
                  <a:cubicBezTo>
                    <a:pt x="77" y="11"/>
                    <a:pt x="79" y="11"/>
                    <a:pt x="81" y="11"/>
                  </a:cubicBezTo>
                  <a:cubicBezTo>
                    <a:pt x="85" y="11"/>
                    <a:pt x="89" y="11"/>
                    <a:pt x="93" y="12"/>
                  </a:cubicBezTo>
                  <a:cubicBezTo>
                    <a:pt x="94" y="12"/>
                    <a:pt x="95" y="13"/>
                    <a:pt x="95" y="13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6"/>
                    <a:pt x="94" y="20"/>
                    <a:pt x="92" y="22"/>
                  </a:cubicBezTo>
                  <a:cubicBezTo>
                    <a:pt x="90" y="25"/>
                    <a:pt x="87" y="27"/>
                    <a:pt x="85" y="30"/>
                  </a:cubicBezTo>
                  <a:cubicBezTo>
                    <a:pt x="80" y="31"/>
                    <a:pt x="75" y="32"/>
                    <a:pt x="70" y="34"/>
                  </a:cubicBezTo>
                  <a:cubicBezTo>
                    <a:pt x="66" y="35"/>
                    <a:pt x="62" y="37"/>
                    <a:pt x="59" y="40"/>
                  </a:cubicBezTo>
                  <a:cubicBezTo>
                    <a:pt x="57" y="41"/>
                    <a:pt x="55" y="43"/>
                    <a:pt x="53" y="45"/>
                  </a:cubicBezTo>
                  <a:cubicBezTo>
                    <a:pt x="52" y="47"/>
                    <a:pt x="50" y="50"/>
                    <a:pt x="50" y="53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62" y="59"/>
                    <a:pt x="66" y="57"/>
                    <a:pt x="70" y="55"/>
                  </a:cubicBezTo>
                  <a:cubicBezTo>
                    <a:pt x="74" y="53"/>
                    <a:pt x="78" y="50"/>
                    <a:pt x="82" y="48"/>
                  </a:cubicBezTo>
                  <a:cubicBezTo>
                    <a:pt x="85" y="45"/>
                    <a:pt x="89" y="43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4" y="39"/>
                    <a:pt x="94" y="38"/>
                    <a:pt x="95" y="38"/>
                  </a:cubicBezTo>
                  <a:cubicBezTo>
                    <a:pt x="98" y="38"/>
                    <a:pt x="102" y="37"/>
                    <a:pt x="105" y="38"/>
                  </a:cubicBezTo>
                  <a:cubicBezTo>
                    <a:pt x="107" y="38"/>
                    <a:pt x="108" y="38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8" y="40"/>
                    <a:pt x="107" y="40"/>
                  </a:cubicBezTo>
                  <a:cubicBezTo>
                    <a:pt x="106" y="41"/>
                    <a:pt x="105" y="42"/>
                    <a:pt x="103" y="43"/>
                  </a:cubicBezTo>
                  <a:cubicBezTo>
                    <a:pt x="101" y="44"/>
                    <a:pt x="100" y="45"/>
                    <a:pt x="98" y="46"/>
                  </a:cubicBezTo>
                  <a:cubicBezTo>
                    <a:pt x="96" y="47"/>
                    <a:pt x="95" y="48"/>
                    <a:pt x="93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5" y="55"/>
                    <a:pt x="96" y="55"/>
                    <a:pt x="97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8" y="54"/>
                    <a:pt x="112" y="54"/>
                    <a:pt x="115" y="54"/>
                  </a:cubicBezTo>
                  <a:cubicBezTo>
                    <a:pt x="119" y="54"/>
                    <a:pt x="122" y="54"/>
                    <a:pt x="125" y="55"/>
                  </a:cubicBezTo>
                  <a:cubicBezTo>
                    <a:pt x="127" y="55"/>
                    <a:pt x="129" y="56"/>
                    <a:pt x="130" y="56"/>
                  </a:cubicBezTo>
                  <a:cubicBezTo>
                    <a:pt x="131" y="57"/>
                    <a:pt x="131" y="57"/>
                    <a:pt x="132" y="58"/>
                  </a:cubicBezTo>
                  <a:cubicBezTo>
                    <a:pt x="132" y="59"/>
                    <a:pt x="132" y="60"/>
                    <a:pt x="131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2" y="61"/>
                    <a:pt x="132" y="61"/>
                    <a:pt x="132" y="61"/>
                  </a:cubicBezTo>
                  <a:cubicBezTo>
                    <a:pt x="132" y="61"/>
                    <a:pt x="133" y="61"/>
                    <a:pt x="133" y="61"/>
                  </a:cubicBezTo>
                  <a:cubicBezTo>
                    <a:pt x="133" y="61"/>
                    <a:pt x="132" y="61"/>
                    <a:pt x="132" y="61"/>
                  </a:cubicBezTo>
                  <a:close/>
                  <a:moveTo>
                    <a:pt x="110" y="38"/>
                  </a:move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4" name="Прямоугольник 103"/>
          <p:cNvSpPr/>
          <p:nvPr/>
        </p:nvSpPr>
        <p:spPr>
          <a:xfrm>
            <a:off x="384055" y="6345959"/>
            <a:ext cx="3354829" cy="2431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Адрес сайта:</a:t>
            </a:r>
            <a:r>
              <a:rPr lang="ru-RU" sz="1400" dirty="0" smtClean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1400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7"/>
              </a:rPr>
              <a:t>https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7"/>
              </a:rPr>
              <a:t>://lecta.rosuchebnik.ru/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83632" y="547944"/>
            <a:ext cx="4248472" cy="785818"/>
          </a:xfrm>
        </p:spPr>
        <p:txBody>
          <a:bodyPr anchor="ctr">
            <a:normAutofit/>
          </a:bodyPr>
          <a:lstStyle/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F3696"/>
                </a:solidFill>
              </a:rPr>
              <a:t>НАДЕЖНАЯ ОСНОВА ЦИФРОВОЙ ШКОЛЫ:</a:t>
            </a:r>
            <a:r>
              <a:rPr lang="en-US" sz="1600" dirty="0">
                <a:solidFill>
                  <a:srgbClr val="2F3696"/>
                </a:solidFill>
              </a:rPr>
              <a:t> </a:t>
            </a:r>
            <a:br>
              <a:rPr lang="en-US" sz="1600" dirty="0">
                <a:solidFill>
                  <a:srgbClr val="2F3696"/>
                </a:solidFill>
              </a:rPr>
            </a:br>
            <a:r>
              <a:rPr lang="ru-RU" sz="1600" dirty="0">
                <a:solidFill>
                  <a:srgbClr val="2F3696"/>
                </a:solidFill>
              </a:rPr>
              <a:t>ПРОСТЫЕ РЕШЕНИЯ СЛОЖНЫХ </a:t>
            </a:r>
            <a:r>
              <a:rPr lang="ru-RU" sz="1600" dirty="0" smtClean="0">
                <a:solidFill>
                  <a:srgbClr val="2F3696"/>
                </a:solidFill>
              </a:rPr>
              <a:t>ЗАДАЧ</a:t>
            </a:r>
            <a:endParaRPr lang="ru-RU" sz="1400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70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0" y="994251"/>
            <a:ext cx="12192000" cy="2184213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59507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>
            <a:spLocks/>
          </p:cNvSpPr>
          <p:nvPr/>
        </p:nvSpPr>
        <p:spPr>
          <a:xfrm>
            <a:off x="1625350" y="3470979"/>
            <a:ext cx="2660803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479"/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ойдите в свой личный кабинет или зарегистрируйтесь на сайте </a:t>
            </a:r>
            <a:r>
              <a:rPr lang="en-US" sz="1100" u="sng" dirty="0" err="1" smtClean="0">
                <a:solidFill>
                  <a:schemeClr val="tx1">
                    <a:lumMod val="90000"/>
                    <a:lumOff val="10000"/>
                  </a:schemeClr>
                </a:solidFill>
                <a:ea typeface="HeliosCompressed"/>
                <a:cs typeface="HeliosCompressed"/>
              </a:rPr>
              <a:t>rosuchebnik.Ru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sp>
        <p:nvSpPr>
          <p:cNvPr id="15" name="Прямоугольник 14"/>
          <p:cNvSpPr>
            <a:spLocks/>
          </p:cNvSpPr>
          <p:nvPr/>
        </p:nvSpPr>
        <p:spPr>
          <a:xfrm>
            <a:off x="5331615" y="3470980"/>
            <a:ext cx="2048129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479"/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ведите код участника семинара (из памятки)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sp>
        <p:nvSpPr>
          <p:cNvPr id="16" name="Прямоугольник 15"/>
          <p:cNvSpPr>
            <a:spLocks/>
          </p:cNvSpPr>
          <p:nvPr/>
        </p:nvSpPr>
        <p:spPr>
          <a:xfrm>
            <a:off x="8252776" y="3470980"/>
            <a:ext cx="1844999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479"/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учите</a:t>
            </a:r>
          </a:p>
          <a:p>
            <a:pPr defTabSz="825479"/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ертификат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5123852" y="4252715"/>
            <a:ext cx="1988687" cy="1504517"/>
            <a:chOff x="3738870" y="2547141"/>
            <a:chExt cx="1988687" cy="150451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9" name="Группа 28">
              <a:extLst>
                <a:ext uri="{FF2B5EF4-FFF2-40B4-BE49-F238E27FC236}">
                  <a16:creationId xmlns="" xmlns:a16="http://schemas.microsoft.com/office/drawing/2014/main" id="{C9138789-248F-DD42-ABA1-8AFDF7FE9249}"/>
                </a:ext>
              </a:extLst>
            </p:cNvPr>
            <p:cNvGrpSpPr/>
            <p:nvPr/>
          </p:nvGrpSpPr>
          <p:grpSpPr>
            <a:xfrm>
              <a:off x="3738870" y="2547141"/>
              <a:ext cx="1988687" cy="1504517"/>
              <a:chOff x="3944505" y="2341807"/>
              <a:chExt cx="1988687" cy="1504517"/>
            </a:xfrm>
          </p:grpSpPr>
          <p:pic>
            <p:nvPicPr>
              <p:cNvPr id="31" name="Рисунок 2" descr="image002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rcRect t="15716" r="4403"/>
              <a:stretch/>
            </p:blipFill>
            <p:spPr bwMode="auto">
              <a:xfrm>
                <a:off x="3944505" y="3107740"/>
                <a:ext cx="1988687" cy="738584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Рисунок 2" descr="image002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rcRect l="4402" t="10950" b="1"/>
              <a:stretch/>
            </p:blipFill>
            <p:spPr bwMode="auto">
              <a:xfrm>
                <a:off x="3944505" y="2341807"/>
                <a:ext cx="1988687" cy="780341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0" name="Прямоугольник 29"/>
            <p:cNvSpPr/>
            <p:nvPr/>
          </p:nvSpPr>
          <p:spPr>
            <a:xfrm>
              <a:off x="4329631" y="3608591"/>
              <a:ext cx="707995" cy="92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5550024" y="6072439"/>
            <a:ext cx="1524000" cy="807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9125"/>
            <a:r>
              <a:rPr lang="en-US" sz="525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©</a:t>
            </a:r>
            <a:r>
              <a:rPr lang="ru-RU" sz="525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 Корпорация «Российский учебник»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8027457" y="4002261"/>
            <a:ext cx="1262081" cy="1780718"/>
            <a:chOff x="6728747" y="4570429"/>
            <a:chExt cx="1262081" cy="1780718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8747" y="4570429"/>
              <a:ext cx="1262081" cy="1780718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7" name="Прямоугольник 36"/>
            <p:cNvSpPr/>
            <p:nvPr/>
          </p:nvSpPr>
          <p:spPr>
            <a:xfrm>
              <a:off x="6885992" y="5584654"/>
              <a:ext cx="1035337" cy="2019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8" cstate="print"/>
          <a:srcRect l="8293" t="7344" r="2230" b="4562"/>
          <a:stretch>
            <a:fillRect/>
          </a:stretch>
        </p:blipFill>
        <p:spPr bwMode="auto">
          <a:xfrm>
            <a:off x="7905319" y="1117602"/>
            <a:ext cx="3389972" cy="20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9" cstate="print"/>
          <a:srcRect l="22268" t="19512" r="23073" b="18829"/>
          <a:stretch>
            <a:fillRect/>
          </a:stretch>
        </p:blipFill>
        <p:spPr bwMode="auto">
          <a:xfrm>
            <a:off x="1519956" y="4127548"/>
            <a:ext cx="2765237" cy="175464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Прямоугольник 39"/>
          <p:cNvSpPr>
            <a:spLocks/>
          </p:cNvSpPr>
          <p:nvPr/>
        </p:nvSpPr>
        <p:spPr>
          <a:xfrm>
            <a:off x="1390655" y="1150669"/>
            <a:ext cx="4705348" cy="18620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Регистрируйтесь на очные и </a:t>
            </a:r>
            <a:r>
              <a:rPr lang="ru-RU" sz="1100" dirty="0" err="1">
                <a:solidFill>
                  <a:srgbClr val="FFFFFF"/>
                </a:solidFill>
                <a:sym typeface="Helvetica Neue Medium"/>
              </a:rPr>
              <a:t>онлайн-мероприятия</a:t>
            </a:r>
            <a:endParaRPr lang="ru-RU" sz="1100" dirty="0">
              <a:solidFill>
                <a:srgbClr val="FFFFFF"/>
              </a:solidFill>
              <a:sym typeface="Helvetica Neue Medium"/>
            </a:endParaRP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Получайте сертификаты за участие в </a:t>
            </a:r>
            <a:r>
              <a:rPr lang="ru-RU" sz="1100" dirty="0" err="1">
                <a:solidFill>
                  <a:srgbClr val="FFFFFF"/>
                </a:solidFill>
                <a:sym typeface="Helvetica Neue Medium"/>
              </a:rPr>
              <a:t>вебинарах</a:t>
            </a: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 и конференциях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Пользуйтесь цифровой образовательной платформой </a:t>
            </a:r>
            <a:r>
              <a:rPr lang="en-US" sz="1100" dirty="0">
                <a:solidFill>
                  <a:srgbClr val="FFFFFF"/>
                </a:solidFill>
                <a:sym typeface="Helvetica Neue Medium"/>
              </a:rPr>
              <a:t>LECTA</a:t>
            </a:r>
            <a:endParaRPr lang="ru-RU" sz="1100" dirty="0">
              <a:solidFill>
                <a:srgbClr val="FFFFFF"/>
              </a:solidFill>
              <a:sym typeface="Helvetica Neue Medium"/>
            </a:endParaRP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Учитесь на курсах повышения квалификации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Скачивайте рабочие программы, сценарии уроков и внеклассных мероприятий, готовые презентации и многое другое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Создавайте собственные подборки интересных материалов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Участвуйте в конкурсах, акциях и спецпроектах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Становитесь членом экспертного сообщества</a:t>
            </a: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Сохраняйте архив обращений в службу </a:t>
            </a:r>
            <a:r>
              <a:rPr lang="ru-RU" sz="1100" dirty="0" err="1">
                <a:solidFill>
                  <a:srgbClr val="FFFFFF"/>
                </a:solidFill>
                <a:sym typeface="Helvetica Neue Medium"/>
              </a:rPr>
              <a:t>техподдержки</a:t>
            </a:r>
            <a:endParaRPr lang="ru-RU" sz="1100" dirty="0">
              <a:solidFill>
                <a:srgbClr val="FFFFFF"/>
              </a:solidFill>
              <a:sym typeface="Helvetica Neue Medium"/>
            </a:endParaRPr>
          </a:p>
          <a:p>
            <a:pPr marL="228600" indent="-228600" defTabSz="825479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FFFFFF"/>
                </a:solidFill>
                <a:sym typeface="Helvetica Neue Medium"/>
              </a:rPr>
              <a:t>Управляйте новостными рассылкам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964" y="345607"/>
            <a:ext cx="10601087" cy="648642"/>
          </a:xfrm>
        </p:spPr>
        <p:txBody>
          <a:bodyPr/>
          <a:lstStyle/>
          <a:p>
            <a:r>
              <a:rPr lang="ru-RU" sz="2400" dirty="0"/>
              <a:t>РЕГИСТРИРУЙТЕСЬ НА САЙТЕ ROSUCHEBNIK.RU И ПОЛЬЗУЙТЕСЬ ПРЕИМУЩЕСТВАМИ ЛИЧНОГО </a:t>
            </a:r>
            <a:r>
              <a:rPr lang="ru-RU" sz="2400" dirty="0" smtClean="0"/>
              <a:t>КАБИНЕТА</a:t>
            </a:r>
            <a:endParaRPr lang="ru-RU" sz="2400" dirty="0"/>
          </a:p>
        </p:txBody>
      </p:sp>
      <p:grpSp>
        <p:nvGrpSpPr>
          <p:cNvPr id="42" name="Group 115"/>
          <p:cNvGrpSpPr/>
          <p:nvPr/>
        </p:nvGrpSpPr>
        <p:grpSpPr>
          <a:xfrm>
            <a:off x="4831765" y="3444710"/>
            <a:ext cx="292083" cy="3911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grpSp>
        <p:nvGrpSpPr>
          <p:cNvPr id="45" name="Group 115"/>
          <p:cNvGrpSpPr/>
          <p:nvPr/>
        </p:nvGrpSpPr>
        <p:grpSpPr>
          <a:xfrm>
            <a:off x="7524157" y="3444710"/>
            <a:ext cx="292083" cy="3911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6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7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</p:spTree>
    <p:extLst>
      <p:ext uri="{BB962C8B-B14F-4D97-AF65-F5344CB8AC3E}">
        <p14:creationId xmlns="" xmlns:p14="http://schemas.microsoft.com/office/powerpoint/2010/main" val="266350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985808"/>
            <a:ext cx="12192000" cy="2192657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25593" y="2118"/>
          <a:ext cx="1587" cy="2116"/>
        </p:xfrm>
        <a:graphic>
          <a:graphicData uri="http://schemas.openxmlformats.org/presentationml/2006/ole">
            <p:oleObj spid="_x0000_s360531" name="think-cell Slide" r:id="rId3" imgW="360" imgH="360" progId="">
              <p:embed/>
            </p:oleObj>
          </a:graphicData>
        </a:graphic>
      </p:graphicFrame>
      <p:sp>
        <p:nvSpPr>
          <p:cNvPr id="1065" name="Хотите продолжить общение?"/>
          <p:cNvSpPr txBox="1"/>
          <p:nvPr/>
        </p:nvSpPr>
        <p:spPr>
          <a:xfrm>
            <a:off x="6753235" y="3453281"/>
            <a:ext cx="274831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6753237" y="4135425"/>
            <a:ext cx="3493162" cy="1569660"/>
            <a:chOff x="7310446" y="3528008"/>
            <a:chExt cx="3493164" cy="156966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00209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="" xmlns:a16="http://schemas.microsoft.com/office/drawing/2014/main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/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="" xmlns:a16="http://schemas.microsoft.com/office/drawing/2014/main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/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="" xmlns:a16="http://schemas.microsoft.com/office/drawing/2014/main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/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="" xmlns:a16="http://schemas.microsoft.com/office/drawing/2014/main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/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2069063" y="2137315"/>
            <a:ext cx="3374898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Москва, Пресненская наб., д. 6, строение 2</a:t>
            </a:r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Нужна методическая поддержка?"/>
          <p:cNvSpPr txBox="1"/>
          <p:nvPr/>
        </p:nvSpPr>
        <p:spPr>
          <a:xfrm>
            <a:off x="6525611" y="1535008"/>
            <a:ext cx="3093347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Нужна методическая поддержка?</a:t>
            </a:r>
            <a:endParaRPr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6525543" y="1925029"/>
            <a:ext cx="4373836" cy="900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8-800-2000-550 (звонок бесплатный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1400" u="sng" dirty="0" smtClean="0">
                <a:solidFill>
                  <a:schemeClr val="bg1"/>
                </a:solidFill>
                <a:latin typeface="Calibri" panose="020F0502020204030204" pitchFamily="34" charset="0"/>
              </a:rPr>
              <a:t>metod@rosuchebnik.ru</a:t>
            </a:r>
            <a:endParaRPr lang="ru-RU" sz="1400" u="sng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36718" y="1526314"/>
            <a:ext cx="2834302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/>
            <a:r>
              <a:rPr lang="en-US" sz="1600" u="sng" dirty="0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sz="1600" u="sng" dirty="0" err="1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sz="1600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2054437" y="3453277"/>
            <a:ext cx="1377300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купить?</a:t>
            </a:r>
            <a:endParaRPr sz="1600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Официальный интернет-магазин учебной литературы book24.ru"/>
          <p:cNvSpPr txBox="1"/>
          <p:nvPr/>
        </p:nvSpPr>
        <p:spPr>
          <a:xfrm>
            <a:off x="2069063" y="440359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фициальный интернет-магазин учебной литературы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book24.ru</a:t>
            </a:r>
            <a:endParaRPr sz="1200" u="sng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  <a:hlinkClick r:id="rId8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693451" y="5113541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Цифровая среда школы</a:t>
            </a:r>
          </a:p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693451" y="582447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ales@rosuchebnik.ru</a:t>
            </a:r>
            <a:endParaRPr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50" name="Изображение" descr="Изображение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131" y="3833607"/>
            <a:ext cx="1292775" cy="646388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06744" y="5808173"/>
            <a:ext cx="482961" cy="488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1" cstate="print"/>
          <a:srcRect l="67677" r="20028"/>
          <a:stretch/>
        </p:blipFill>
        <p:spPr bwMode="auto">
          <a:xfrm>
            <a:off x="2033844" y="5003827"/>
            <a:ext cx="404037" cy="558645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2077690" y="2409715"/>
            <a:ext cx="4031012" cy="1892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+7 (495)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35,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45, </a:t>
            </a:r>
            <a:r>
              <a:rPr lang="en-US" sz="1400" u="sng" dirty="0">
                <a:solidFill>
                  <a:schemeClr val="bg1"/>
                </a:solidFill>
                <a:latin typeface="Calibri" panose="020F0502020204030204" pitchFamily="34" charset="0"/>
              </a:rPr>
              <a:t>info@rosuchebnik.ru</a:t>
            </a:r>
            <a:endParaRPr sz="1400" u="sng" dirty="0">
              <a:solidFill>
                <a:schemeClr val="bg1"/>
              </a:solidFill>
              <a:latin typeface="Calibri" panose="020F0502020204030204" pitchFamily="34" charset="0"/>
              <a:hlinkClick r:id="rId12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89096" y="182213"/>
            <a:ext cx="3161639" cy="71764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394194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81"/>
          <p:cNvSpPr txBox="1">
            <a:spLocks noGrp="1"/>
          </p:cNvSpPr>
          <p:nvPr>
            <p:ph type="ctrTitle" idx="4294967295"/>
          </p:nvPr>
        </p:nvSpPr>
        <p:spPr>
          <a:xfrm>
            <a:off x="1412000" y="1465400"/>
            <a:ext cx="9593200" cy="21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 dirty="0">
                <a:latin typeface="Roboto Slab Light"/>
                <a:ea typeface="Roboto Slab Light"/>
                <a:cs typeface="Roboto Slab Light"/>
                <a:sym typeface="Roboto Slab Light"/>
              </a:rPr>
              <a:t>Новая форма привычных вещей</a:t>
            </a:r>
            <a:endParaRPr sz="6400" dirty="0"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  <p:sp>
        <p:nvSpPr>
          <p:cNvPr id="710" name="Google Shape;710;p81"/>
          <p:cNvSpPr txBox="1"/>
          <p:nvPr/>
        </p:nvSpPr>
        <p:spPr>
          <a:xfrm>
            <a:off x="914403" y="3819835"/>
            <a:ext cx="10794380" cy="1644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600"/>
              <a:defRPr/>
            </a:pPr>
            <a:r>
              <a:rPr lang="ru-RU" sz="3200" kern="0" dirty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Как объединить электронные формы учебников, </a:t>
            </a:r>
            <a:r>
              <a:rPr lang="ru-RU" sz="3200" kern="0" dirty="0" smtClean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электронные тренажеры, сборники заданий к ОГЭ и ЕГЭ  в одном портфеле</a:t>
            </a:r>
            <a:r>
              <a:rPr lang="ru-RU" sz="3200" kern="0" dirty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?</a:t>
            </a:r>
            <a:endParaRPr sz="3200" kern="0" dirty="0">
              <a:solidFill>
                <a:srgbClr val="FFFFFF"/>
              </a:solidFill>
              <a:latin typeface="Blackadder ITC" panose="04020505051007020D02" pitchFamily="82" charset="0"/>
              <a:ea typeface="Roboto"/>
              <a:cs typeface="Roboto"/>
              <a:sym typeface="Roboto"/>
            </a:endParaRPr>
          </a:p>
        </p:txBody>
      </p:sp>
      <p:sp>
        <p:nvSpPr>
          <p:cNvPr id="711" name="Google Shape;711;p81"/>
          <p:cNvSpPr txBox="1">
            <a:spLocks noGrp="1"/>
          </p:cNvSpPr>
          <p:nvPr>
            <p:ph type="ctrTitle" idx="4294967295"/>
          </p:nvPr>
        </p:nvSpPr>
        <p:spPr>
          <a:xfrm>
            <a:off x="770067" y="1465400"/>
            <a:ext cx="436000" cy="18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>
                <a:solidFill>
                  <a:srgbClr val="ED1064"/>
                </a:solidFill>
                <a:latin typeface="Roboto Slab Light"/>
                <a:ea typeface="Roboto Slab Light"/>
                <a:cs typeface="Roboto Slab Light"/>
                <a:sym typeface="Roboto Slab Light"/>
              </a:rPr>
              <a:t>1</a:t>
            </a:r>
            <a:endParaRPr sz="6400">
              <a:solidFill>
                <a:srgbClr val="ED1064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8101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285750" indent="-285750" algn="ctr">
              <a:spcBef>
                <a:spcPts val="600"/>
              </a:spcBef>
              <a:spcAft>
                <a:spcPts val="200"/>
              </a:spcAft>
            </a:pPr>
            <a:r>
              <a:rPr lang="ru-RU" sz="3200" b="1" dirty="0">
                <a:ln w="0"/>
                <a:solidFill>
                  <a:srgbClr val="FFFF00"/>
                </a:solidFill>
                <a:latin typeface="Cambria" panose="02040503050406030204" pitchFamily="18" charset="0"/>
                <a:ea typeface="+mn-ea"/>
                <a:cs typeface="+mn-cs"/>
              </a:rPr>
              <a:t>Соответствие ЭФУ объединенной издательской группы требованиям приказа </a:t>
            </a:r>
            <a:r>
              <a:rPr lang="ru-RU" sz="3200" b="1" dirty="0" err="1">
                <a:ln w="0"/>
                <a:solidFill>
                  <a:srgbClr val="FFFF00"/>
                </a:solidFill>
                <a:latin typeface="Cambria" panose="02040503050406030204" pitchFamily="18" charset="0"/>
                <a:ea typeface="+mn-ea"/>
                <a:cs typeface="+mn-cs"/>
              </a:rPr>
              <a:t>МОиН</a:t>
            </a:r>
            <a:r>
              <a:rPr lang="ru-RU" sz="3200" b="1" dirty="0">
                <a:ln w="0"/>
                <a:solidFill>
                  <a:srgbClr val="FFFF00"/>
                </a:solidFill>
                <a:latin typeface="Cambria" panose="02040503050406030204" pitchFamily="18" charset="0"/>
                <a:ea typeface="+mn-ea"/>
                <a:cs typeface="+mn-cs"/>
              </a:rPr>
              <a:t> РФ №870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1774825" y="1634514"/>
            <a:ext cx="4140200" cy="475138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6" name="TextBox 16"/>
          <p:cNvSpPr txBox="1">
            <a:spLocks noChangeArrowheads="1"/>
          </p:cNvSpPr>
          <p:nvPr/>
        </p:nvSpPr>
        <p:spPr bwMode="auto">
          <a:xfrm>
            <a:off x="2927648" y="1450456"/>
            <a:ext cx="1872208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 b="1" dirty="0">
                <a:solidFill>
                  <a:srgbClr val="70AD47">
                    <a:lumMod val="75000"/>
                  </a:srgbClr>
                </a:solidFill>
                <a:latin typeface="Cambria" panose="02040503050406030204" pitchFamily="18" charset="0"/>
              </a:rPr>
              <a:t>Требования </a:t>
            </a:r>
            <a:r>
              <a:rPr lang="ru-RU" altLang="ru-RU" sz="1400" b="1" dirty="0" err="1">
                <a:solidFill>
                  <a:srgbClr val="70AD47">
                    <a:lumMod val="75000"/>
                  </a:srgbClr>
                </a:solidFill>
                <a:latin typeface="Cambria" panose="02040503050406030204" pitchFamily="18" charset="0"/>
              </a:rPr>
              <a:t>МОиН</a:t>
            </a:r>
            <a:endParaRPr lang="ru-RU" altLang="ru-RU" sz="1400" b="1" dirty="0">
              <a:solidFill>
                <a:srgbClr val="70AD47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27" name="Rounded Rectangular Callout 33"/>
          <p:cNvSpPr/>
          <p:nvPr/>
        </p:nvSpPr>
        <p:spPr>
          <a:xfrm>
            <a:off x="1901825" y="1855175"/>
            <a:ext cx="3886200" cy="1150938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i="1" dirty="0">
                <a:solidFill>
                  <a:prstClr val="black"/>
                </a:solidFill>
                <a:latin typeface="Cambria" panose="02040503050406030204" pitchFamily="18" charset="0"/>
              </a:rPr>
              <a:t>«Электронная форма учебника… представлена в общедоступных форматах, не имеющих лицензионных ограничений для участника образовательного процесса»</a:t>
            </a:r>
          </a:p>
        </p:txBody>
      </p:sp>
      <p:sp>
        <p:nvSpPr>
          <p:cNvPr id="28" name="Rounded Rectangular Callout 33"/>
          <p:cNvSpPr/>
          <p:nvPr/>
        </p:nvSpPr>
        <p:spPr>
          <a:xfrm>
            <a:off x="1901825" y="5018219"/>
            <a:ext cx="3886200" cy="1296244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i="1" dirty="0">
                <a:solidFill>
                  <a:prstClr val="black"/>
                </a:solidFill>
                <a:latin typeface="Calibri Light"/>
              </a:rPr>
              <a:t>«Электронная </a:t>
            </a:r>
            <a:r>
              <a:rPr lang="ru-RU" sz="1600" i="1" dirty="0">
                <a:solidFill>
                  <a:prstClr val="black"/>
                </a:solidFill>
                <a:latin typeface="Calibri Light"/>
              </a:rPr>
              <a:t>форма</a:t>
            </a:r>
            <a:r>
              <a:rPr lang="ru-RU" sz="1400" i="1" dirty="0">
                <a:solidFill>
                  <a:prstClr val="black"/>
                </a:solidFill>
                <a:latin typeface="Calibri Light"/>
              </a:rPr>
              <a:t> учебника… должна воспроизводиться на не менее чем двух видах электронных устройств (стационарный</a:t>
            </a:r>
            <a:endParaRPr lang="en-US" sz="1400" i="1" dirty="0">
              <a:solidFill>
                <a:prstClr val="black"/>
              </a:solidFill>
              <a:latin typeface="Calibri Light"/>
            </a:endParaRPr>
          </a:p>
          <a:p>
            <a:pPr algn="ctr">
              <a:defRPr/>
            </a:pPr>
            <a:r>
              <a:rPr lang="ru-RU" sz="1400" i="1" dirty="0">
                <a:solidFill>
                  <a:prstClr val="black"/>
                </a:solidFill>
                <a:latin typeface="Calibri Light"/>
              </a:rPr>
              <a:t>или персональный компьютер, в том числе</a:t>
            </a:r>
            <a:endParaRPr lang="en-US" sz="1400" i="1" dirty="0">
              <a:solidFill>
                <a:prstClr val="black"/>
              </a:solidFill>
              <a:latin typeface="Calibri Light"/>
            </a:endParaRPr>
          </a:p>
          <a:p>
            <a:pPr algn="ctr">
              <a:defRPr/>
            </a:pPr>
            <a:r>
              <a:rPr lang="ru-RU" sz="1400" i="1" dirty="0">
                <a:solidFill>
                  <a:prstClr val="black"/>
                </a:solidFill>
                <a:latin typeface="Calibri Light"/>
              </a:rPr>
              <a:t>с подключением к интерактивной доске, планшетный компьютер и иное)»</a:t>
            </a:r>
          </a:p>
        </p:txBody>
      </p:sp>
      <p:sp>
        <p:nvSpPr>
          <p:cNvPr id="29" name="Rounded Rectangular Callout 33"/>
          <p:cNvSpPr/>
          <p:nvPr/>
        </p:nvSpPr>
        <p:spPr>
          <a:xfrm>
            <a:off x="1901825" y="3436327"/>
            <a:ext cx="3886200" cy="1152525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i="1" dirty="0">
                <a:solidFill>
                  <a:prstClr val="black"/>
                </a:solidFill>
                <a:latin typeface="Calibri Light"/>
              </a:rPr>
              <a:t>«Электронная форма учебника… может быть воспроизведена на трех или более операционных системах, не менее двух из которых для мобильных устройств»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H="1">
            <a:off x="1882776" y="4874600"/>
            <a:ext cx="8173664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cxnSp>
        <p:nvCxnSpPr>
          <p:cNvPr id="31" name="Прямая соединительная линия 30"/>
          <p:cNvCxnSpPr/>
          <p:nvPr/>
        </p:nvCxnSpPr>
        <p:spPr>
          <a:xfrm flipH="1">
            <a:off x="1882778" y="3145813"/>
            <a:ext cx="8209668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pic>
        <p:nvPicPr>
          <p:cNvPr id="22530" name="Picture 2" descr="http://www.doinhmao.ru/uploads/public/554/21e/8f5/55421e8f58ee3658663266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419865" y="173236"/>
            <a:ext cx="1248139" cy="936104"/>
          </a:xfrm>
          <a:prstGeom prst="rect">
            <a:avLst/>
          </a:prstGeom>
          <a:noFill/>
        </p:spPr>
      </p:pic>
      <p:sp>
        <p:nvSpPr>
          <p:cNvPr id="32" name="Прямоугольник 31"/>
          <p:cNvSpPr/>
          <p:nvPr/>
        </p:nvSpPr>
        <p:spPr>
          <a:xfrm>
            <a:off x="6098023" y="1634612"/>
            <a:ext cx="4140200" cy="475138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37" name="TextBox 16"/>
          <p:cNvSpPr txBox="1">
            <a:spLocks noChangeArrowheads="1"/>
          </p:cNvSpPr>
          <p:nvPr/>
        </p:nvSpPr>
        <p:spPr bwMode="auto">
          <a:xfrm>
            <a:off x="6383456" y="1450363"/>
            <a:ext cx="3601095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>
            <a:defPPr>
              <a:defRPr lang="ru-RU"/>
            </a:defPPr>
            <a:lvl1pPr marL="88900" indent="-88900" algn="ctr">
              <a:buClr>
                <a:srgbClr val="002963"/>
              </a:buClr>
              <a:defRPr sz="1400" b="1">
                <a:solidFill>
                  <a:schemeClr val="accent6">
                    <a:lumMod val="75000"/>
                  </a:schemeClr>
                </a:solidFill>
                <a:latin typeface="Cambria" panose="02040503050406030204" pitchFamily="18" charset="0"/>
              </a:defRPr>
            </a:lvl1pPr>
          </a:lstStyle>
          <a:p>
            <a:r>
              <a:rPr lang="ru-RU" altLang="ru-RU" dirty="0">
                <a:solidFill>
                  <a:srgbClr val="70AD47">
                    <a:lumMod val="75000"/>
                  </a:srgbClr>
                </a:solidFill>
              </a:rPr>
              <a:t>Реализация требований издательской группой «ДРОФА»–«ВЕНТАНА»</a:t>
            </a:r>
          </a:p>
        </p:txBody>
      </p:sp>
      <p:sp>
        <p:nvSpPr>
          <p:cNvPr id="38" name="Текст 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524607" y="2266864"/>
            <a:ext cx="419100" cy="32756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39" name="Picture 21" descr="http://yhoome.ru/wp-content/uploads/2015/01/Linux-3_6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83337" y="3271225"/>
            <a:ext cx="1300163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7" descr="https://encrypted-tbn0.gstatic.com/images?q=tbn:ANd9GcSHbnd1bq9qO5y6MQ1l6iGJ0xf-PeQlNm2bZ9PjQbGJRnyTuI0M"/>
          <p:cNvPicPr>
            <a:picLocks noChangeAspect="1" noChangeArrowheads="1"/>
          </p:cNvPicPr>
          <p:nvPr/>
        </p:nvPicPr>
        <p:blipFill>
          <a:blip r:embed="rId14" cstate="print"/>
          <a:srcRect b="9647"/>
          <a:stretch>
            <a:fillRect/>
          </a:stretch>
        </p:blipFill>
        <p:spPr bwMode="auto">
          <a:xfrm>
            <a:off x="8502663" y="3434043"/>
            <a:ext cx="636588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Текст 6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770815" y="3382350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43" name="Picture 31" descr="http://habrastorage.org/getpro/geektimes/comment_images/aa9/5c3/513/aa95c3513b9054aaefc22cf87f67a4ea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348151" y="4154123"/>
            <a:ext cx="700087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Текст 6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16183" y="426213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45" name="Picture 33" descr="http://cdn.phys.org/newman/gfx/news/hires/2014/ios-logo.jpg"/>
          <p:cNvPicPr>
            <a:picLocks noChangeAspect="1" noChangeArrowheads="1"/>
          </p:cNvPicPr>
          <p:nvPr/>
        </p:nvPicPr>
        <p:blipFill>
          <a:blip r:embed="rId16" cstate="print"/>
          <a:srcRect l="14088" t="16995" r="9366" b="18919"/>
          <a:stretch>
            <a:fillRect/>
          </a:stretch>
        </p:blipFill>
        <p:spPr bwMode="auto">
          <a:xfrm>
            <a:off x="8509867" y="4285548"/>
            <a:ext cx="828092" cy="456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Текст 6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474894" y="4262135"/>
            <a:ext cx="401649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080503" y="5498673"/>
            <a:ext cx="1119188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5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294437" y="5054173"/>
            <a:ext cx="665659" cy="694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35" descr="http://www.androidheadlines.com/wp-content/uploads/2013/06/Budget-android-tablet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24148" y="5630472"/>
            <a:ext cx="86677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364253" y="5378259"/>
            <a:ext cx="654051" cy="863600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sp>
        <p:nvSpPr>
          <p:cNvPr id="51" name="Текст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061279" y="534225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sp>
        <p:nvSpPr>
          <p:cNvPr id="52" name="Текст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824195" y="5558279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sp>
        <p:nvSpPr>
          <p:cNvPr id="53" name="Текст 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032107" y="516223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sp>
        <p:nvSpPr>
          <p:cNvPr id="54" name="Текст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867685" y="5053886"/>
            <a:ext cx="311088" cy="408023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55" name="Picture 14" descr="http://upload.wikimedia.org/wikipedia/en/thumb/1/14/EPUB_logo.svg/745px-EPUB_logo.svg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494653" y="2079337"/>
            <a:ext cx="618691" cy="85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Текст 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474894" y="3410987"/>
            <a:ext cx="401649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sp>
        <p:nvSpPr>
          <p:cNvPr id="57" name="Текст 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434323" y="2254567"/>
            <a:ext cx="419100" cy="32756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70AD47">
                    <a:lumMod val="75000"/>
                  </a:srgbClr>
                </a:solidFill>
                <a:latin typeface="Calibri Light"/>
                <a:sym typeface="Wingdings" pitchFamily="2" charset="2"/>
              </a:rPr>
              <a:t>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108" y="1990262"/>
            <a:ext cx="871096" cy="991635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4123"/>
            <a:ext cx="1633103" cy="57607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92929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1371600" y="1276075"/>
            <a:ext cx="10210800" cy="81399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ru-RU" sz="3600" b="1" dirty="0" err="1">
                <a:solidFill>
                  <a:srgbClr val="FFFF00"/>
                </a:solidFill>
                <a:latin typeface="Cambria" panose="02040503050406030204" pitchFamily="18" charset="0"/>
              </a:rPr>
              <a:t>СанПин</a:t>
            </a:r>
            <a:r>
              <a:rPr lang="ru-RU" sz="3600" b="1" dirty="0">
                <a:solidFill>
                  <a:srgbClr val="FFFF00"/>
                </a:solidFill>
                <a:latin typeface="Cambria" panose="02040503050406030204" pitchFamily="18" charset="0"/>
              </a:rPr>
              <a:t> </a:t>
            </a:r>
            <a:r>
              <a:rPr lang="ru-RU" sz="2400" b="1" dirty="0">
                <a:solidFill>
                  <a:srgbClr val="FFFF00"/>
                </a:solidFill>
                <a:latin typeface="Cambria" panose="02040503050406030204" pitchFamily="18" charset="0"/>
              </a:rPr>
              <a:t>рекомендует.</a:t>
            </a:r>
            <a:r>
              <a:rPr lang="en-US" sz="2400" b="1" dirty="0">
                <a:solidFill>
                  <a:srgbClr val="FFFF00"/>
                </a:solidFill>
                <a:latin typeface="Cambria" panose="02040503050406030204" pitchFamily="18" charset="0"/>
              </a:rPr>
              <a:t> </a:t>
            </a:r>
            <a:r>
              <a:rPr lang="ru-RU" sz="2400" b="1" dirty="0">
                <a:solidFill>
                  <a:srgbClr val="FFFF00"/>
                </a:solidFill>
                <a:latin typeface="Cambria" panose="02040503050406030204" pitchFamily="18" charset="0"/>
              </a:rPr>
              <a:t/>
            </a:r>
            <a:br>
              <a:rPr lang="ru-RU" sz="2400" b="1" dirty="0">
                <a:solidFill>
                  <a:srgbClr val="FFFF00"/>
                </a:solidFill>
                <a:latin typeface="Cambria" panose="02040503050406030204" pitchFamily="18" charset="0"/>
              </a:rPr>
            </a:br>
            <a:r>
              <a:rPr lang="ru-RU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  <a:t>СанПиН 2.4.2.2821-10</a:t>
            </a:r>
            <a:r>
              <a:rPr lang="en-US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  <a:t>. </a:t>
            </a:r>
            <a:r>
              <a:rPr lang="ru-RU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  <a:t>Постановление Главного государственного санитарного врача Российской Федерации</a:t>
            </a:r>
            <a:r>
              <a:rPr lang="en-US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  <a:t> </a:t>
            </a:r>
            <a:r>
              <a:rPr lang="ru-RU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  <a:t>от 29 декабря 2010 г.</a:t>
            </a:r>
            <a:br>
              <a:rPr lang="ru-RU" altLang="ru-RU" sz="2000" b="1" dirty="0">
                <a:solidFill>
                  <a:srgbClr val="FFFF00"/>
                </a:solidFill>
                <a:latin typeface="Cambria" panose="02040503050406030204" pitchFamily="18" charset="0"/>
              </a:rPr>
            </a:br>
            <a:r>
              <a:rPr lang="ru-RU" altLang="ru-RU" sz="2400" b="1" dirty="0">
                <a:solidFill>
                  <a:srgbClr val="FFFF00"/>
                </a:solidFill>
                <a:latin typeface="Cambria" panose="02040503050406030204" pitchFamily="18" charset="0"/>
              </a:rPr>
              <a:t>(с изменениями от 24.11.2015)</a:t>
            </a:r>
            <a:endParaRPr lang="ru-RU" sz="2400" b="1" dirty="0">
              <a:solidFill>
                <a:srgbClr val="FFFF00"/>
              </a:solidFill>
              <a:latin typeface="Cambria" panose="02040503050406030204" pitchFamily="18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667509" y="2110073"/>
          <a:ext cx="8856986" cy="4206116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878379">
                  <a:extLst>
                    <a:ext uri="{9D8B030D-6E8A-4147-A177-3AD203B41FA5}">
                      <a16:colId xmlns="" xmlns:a16="http://schemas.microsoft.com/office/drawing/2014/main" val="1456723854"/>
                    </a:ext>
                  </a:extLst>
                </a:gridCol>
                <a:gridCol w="1329768">
                  <a:extLst>
                    <a:ext uri="{9D8B030D-6E8A-4147-A177-3AD203B41FA5}">
                      <a16:colId xmlns="" xmlns:a16="http://schemas.microsoft.com/office/drawing/2014/main" val="2423866518"/>
                    </a:ext>
                  </a:extLst>
                </a:gridCol>
                <a:gridCol w="1158971">
                  <a:extLst>
                    <a:ext uri="{9D8B030D-6E8A-4147-A177-3AD203B41FA5}">
                      <a16:colId xmlns="" xmlns:a16="http://schemas.microsoft.com/office/drawing/2014/main" val="3283464109"/>
                    </a:ext>
                  </a:extLst>
                </a:gridCol>
                <a:gridCol w="1317567">
                  <a:extLst>
                    <a:ext uri="{9D8B030D-6E8A-4147-A177-3AD203B41FA5}">
                      <a16:colId xmlns="" xmlns:a16="http://schemas.microsoft.com/office/drawing/2014/main" val="1155876049"/>
                    </a:ext>
                  </a:extLst>
                </a:gridCol>
                <a:gridCol w="1431931">
                  <a:extLst>
                    <a:ext uri="{9D8B030D-6E8A-4147-A177-3AD203B41FA5}">
                      <a16:colId xmlns="" xmlns:a16="http://schemas.microsoft.com/office/drawing/2014/main" val="816469011"/>
                    </a:ext>
                  </a:extLst>
                </a:gridCol>
                <a:gridCol w="1430215">
                  <a:extLst>
                    <a:ext uri="{9D8B030D-6E8A-4147-A177-3AD203B41FA5}">
                      <a16:colId xmlns="" xmlns:a16="http://schemas.microsoft.com/office/drawing/2014/main" val="2761459303"/>
                    </a:ext>
                  </a:extLst>
                </a:gridCol>
                <a:gridCol w="1310155">
                  <a:extLst>
                    <a:ext uri="{9D8B030D-6E8A-4147-A177-3AD203B41FA5}">
                      <a16:colId xmlns="" xmlns:a16="http://schemas.microsoft.com/office/drawing/2014/main" val="836557347"/>
                    </a:ext>
                  </a:extLst>
                </a:gridCol>
              </a:tblGrid>
              <a:tr h="457463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Класс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Непрерывная длительность (мин.), не более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75996402"/>
                  </a:ext>
                </a:extLst>
              </a:tr>
              <a:tr h="1918801">
                <a:tc vMerge="1">
                  <a:txBody>
                    <a:bodyPr/>
                    <a:lstStyle/>
                    <a:p>
                      <a:endParaRPr lang="ru-RU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смотр статических изображений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учебных досках  экранах отраженного свечения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смотр телепередач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смотр динамических изображений на экранах отраженного свечения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 с изображением на индивидуальном мониторе компьютера и клавиатурой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слушивание аудиозаписи</a:t>
                      </a:r>
                      <a:endParaRPr lang="ru-RU" sz="13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слушивание аудио-</a:t>
                      </a:r>
                      <a:b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kern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иси в наушниках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14195251"/>
                  </a:ext>
                </a:extLst>
              </a:tr>
              <a:tr h="457463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1-2</a:t>
                      </a:r>
                      <a:endParaRPr lang="ru-RU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10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15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15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15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497068901"/>
                  </a:ext>
                </a:extLst>
              </a:tr>
              <a:tr h="457463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3-4</a:t>
                      </a:r>
                      <a:endParaRPr lang="ru-RU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15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20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20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15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198081663"/>
                  </a:ext>
                </a:extLst>
              </a:tr>
              <a:tr h="457463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5-7</a:t>
                      </a:r>
                      <a:endParaRPr lang="ru-RU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20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25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25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20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30872476"/>
                  </a:ext>
                </a:extLst>
              </a:tr>
              <a:tr h="457463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8-11</a:t>
                      </a:r>
                      <a:endParaRPr lang="ru-RU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25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30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0070C0"/>
                          </a:solidFill>
                          <a:latin typeface="Cambria" panose="02040503050406030204" pitchFamily="18" charset="0"/>
                        </a:rPr>
                        <a:t>30</a:t>
                      </a:r>
                      <a:endParaRPr lang="ru-RU" b="1" dirty="0">
                        <a:solidFill>
                          <a:srgbClr val="0070C0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Cambria" panose="02040503050406030204" pitchFamily="18" charset="0"/>
                        </a:rPr>
                        <a:t>25</a:t>
                      </a:r>
                      <a:endParaRPr lang="ru-RU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747368385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55" y="785792"/>
            <a:ext cx="1389369" cy="490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86574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413660">
            <a:off x="3318791" y="1590343"/>
            <a:ext cx="1227353" cy="17493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" name="Группа 6"/>
          <p:cNvGrpSpPr/>
          <p:nvPr/>
        </p:nvGrpSpPr>
        <p:grpSpPr>
          <a:xfrm rot="21204283">
            <a:off x="1637953" y="5643379"/>
            <a:ext cx="1000283" cy="1134253"/>
            <a:chOff x="3856892" y="2390630"/>
            <a:chExt cx="1615346" cy="2076740"/>
          </a:xfrm>
        </p:grpSpPr>
        <p:pic>
          <p:nvPicPr>
            <p:cNvPr id="5" name="Рисунок 4" descr="Вырезка экрана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10282"/>
            <a:stretch/>
          </p:blipFill>
          <p:spPr>
            <a:xfrm>
              <a:off x="3856892" y="2390630"/>
              <a:ext cx="1615346" cy="2076740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4185631" y="3269625"/>
              <a:ext cx="1262701" cy="507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dirty="0">
                  <a:solidFill>
                    <a:prstClr val="white">
                      <a:lumMod val="95000"/>
                    </a:prstClr>
                  </a:solidFill>
                  <a:latin typeface="Cambria" panose="02040503050406030204" pitchFamily="18" charset="0"/>
                </a:rPr>
                <a:t>Художественная литература</a:t>
              </a:r>
            </a:p>
          </p:txBody>
        </p:sp>
      </p:grp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35" t="7145" r="2873" b="2685"/>
          <a:stretch/>
        </p:blipFill>
        <p:spPr>
          <a:xfrm rot="21012554">
            <a:off x="2065713" y="1785784"/>
            <a:ext cx="1163507" cy="15711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930223">
            <a:off x="9163801" y="2000717"/>
            <a:ext cx="1065999" cy="150081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3" name="Дуга 22"/>
          <p:cNvSpPr/>
          <p:nvPr/>
        </p:nvSpPr>
        <p:spPr>
          <a:xfrm rot="16200000" flipV="1">
            <a:off x="4146449" y="2527532"/>
            <a:ext cx="4043652" cy="4096511"/>
          </a:xfrm>
          <a:prstGeom prst="arc">
            <a:avLst>
              <a:gd name="adj1" fmla="val 98248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b="1" dirty="0">
                <a:ln w="0"/>
                <a:solidFill>
                  <a:srgbClr val="FFFF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+mn-ea"/>
                <a:cs typeface="+mn-cs"/>
              </a:rPr>
              <a:t>LECTA еще вчера… </a:t>
            </a:r>
            <a:endParaRPr lang="ru-RU" sz="3600" b="1" dirty="0">
              <a:ln w="0"/>
              <a:solidFill>
                <a:srgbClr val="FFFF00"/>
              </a:solidFill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2" name="Рисунок 11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459" y="5703833"/>
            <a:ext cx="1460777" cy="450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3" name="Прямоугольник: скругленные углы 12"/>
          <p:cNvSpPr/>
          <p:nvPr/>
        </p:nvSpPr>
        <p:spPr>
          <a:xfrm>
            <a:off x="5164072" y="4043417"/>
            <a:ext cx="2161311" cy="1349377"/>
          </a:xfrm>
          <a:prstGeom prst="roundRect">
            <a:avLst/>
          </a:prstGeom>
          <a:blipFill>
            <a:blip r:embed="rId8" cstate="print"/>
            <a:stretch>
              <a:fillRect l="-58791" t="-1" r="-3239" b="-568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2300" b="1" dirty="0">
                <a:solidFill>
                  <a:srgbClr val="4472C4">
                    <a:lumMod val="50000"/>
                  </a:srgbClr>
                </a:solidFill>
                <a:latin typeface="Cambria" panose="02040503050406030204" pitchFamily="18" charset="0"/>
              </a:rPr>
              <a:t>         </a:t>
            </a:r>
          </a:p>
        </p:txBody>
      </p:sp>
      <p:pic>
        <p:nvPicPr>
          <p:cNvPr id="3" name="Рисунок 2">
            <a:hlinkClick r:id="rId9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419" y="6227291"/>
            <a:ext cx="915060" cy="4638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1" name="Прямоугольник: скругленные углы 20"/>
          <p:cNvSpPr/>
          <p:nvPr/>
        </p:nvSpPr>
        <p:spPr>
          <a:xfrm>
            <a:off x="7090269" y="5202452"/>
            <a:ext cx="3344683" cy="8011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Cambria" panose="02040503050406030204" pitchFamily="18" charset="0"/>
              </a:rPr>
              <a:t>Дистанционные онлайн-курсы</a:t>
            </a:r>
          </a:p>
        </p:txBody>
      </p:sp>
      <p:sp>
        <p:nvSpPr>
          <p:cNvPr id="22" name="Прямоугольник: скругленные углы 21"/>
          <p:cNvSpPr/>
          <p:nvPr/>
        </p:nvSpPr>
        <p:spPr>
          <a:xfrm>
            <a:off x="4599981" y="2013072"/>
            <a:ext cx="3289488" cy="934288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Cambria" panose="02040503050406030204" pitchFamily="18" charset="0"/>
              </a:rPr>
              <a:t>Электронная форма учебника (ЭФУ)</a:t>
            </a:r>
          </a:p>
        </p:txBody>
      </p:sp>
      <p:sp>
        <p:nvSpPr>
          <p:cNvPr id="24" name="Прямоугольник: скругленные углы 23"/>
          <p:cNvSpPr/>
          <p:nvPr/>
        </p:nvSpPr>
        <p:spPr>
          <a:xfrm>
            <a:off x="5774123" y="3599587"/>
            <a:ext cx="788361" cy="704803"/>
          </a:xfrm>
          <a:prstGeom prst="roundRect">
            <a:avLst/>
          </a:prstGeom>
          <a:blipFill>
            <a:blip r:embed="rId8" cstate="print"/>
            <a:stretch>
              <a:fillRect t="-1" r="-179448" b="-568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2300" b="1" dirty="0">
                <a:solidFill>
                  <a:srgbClr val="4472C4">
                    <a:lumMod val="50000"/>
                  </a:srgbClr>
                </a:solidFill>
                <a:latin typeface="Cambria" panose="02040503050406030204" pitchFamily="18" charset="0"/>
              </a:rPr>
              <a:t>         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6731" y="6044645"/>
            <a:ext cx="1920944" cy="646531"/>
          </a:xfrm>
          <a:prstGeom prst="rect">
            <a:avLst/>
          </a:prstGeom>
        </p:spPr>
      </p:pic>
      <p:sp>
        <p:nvSpPr>
          <p:cNvPr id="20" name="Прямоугольник: скругленные углы 19"/>
          <p:cNvSpPr/>
          <p:nvPr/>
        </p:nvSpPr>
        <p:spPr>
          <a:xfrm>
            <a:off x="1890336" y="4742724"/>
            <a:ext cx="3053231" cy="79007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Cambria" panose="02040503050406030204" pitchFamily="18" charset="0"/>
              </a:rPr>
              <a:t>Образовательные ресурсы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56795">
            <a:off x="8027665" y="1790382"/>
            <a:ext cx="1151521" cy="15742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19" y="718599"/>
            <a:ext cx="1352408" cy="47706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3003" t="13323" r="7310" b="11830"/>
          <a:stretch/>
        </p:blipFill>
        <p:spPr>
          <a:xfrm rot="658663">
            <a:off x="4164328" y="5828158"/>
            <a:ext cx="739015" cy="8378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="" xmlns:p14="http://schemas.microsoft.com/office/powerpoint/2010/main" val="392365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Заголовок 1"/>
          <p:cNvSpPr txBox="1">
            <a:spLocks/>
          </p:cNvSpPr>
          <p:nvPr/>
        </p:nvSpPr>
        <p:spPr>
          <a:xfrm>
            <a:off x="2459415" y="379570"/>
            <a:ext cx="7563816" cy="8331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3600" b="1" dirty="0">
                <a:ln w="0"/>
                <a:solidFill>
                  <a:srgbClr val="FFFF00"/>
                </a:solidFill>
                <a:latin typeface="Cambria" panose="02040503050406030204" pitchFamily="18" charset="0"/>
              </a:rPr>
              <a:t>Электронный</a:t>
            </a: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</a:rPr>
              <a:t> </a:t>
            </a:r>
            <a:r>
              <a:rPr lang="ru-RU" sz="3600" b="1" dirty="0">
                <a:ln w="0"/>
                <a:solidFill>
                  <a:srgbClr val="FFFF00"/>
                </a:solidFill>
                <a:latin typeface="Cambria" panose="02040503050406030204" pitchFamily="18" charset="0"/>
              </a:rPr>
              <a:t>портфель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21" y="694527"/>
            <a:ext cx="1352408" cy="477063"/>
          </a:xfrm>
          <a:prstGeom prst="rect">
            <a:avLst/>
          </a:prstGeom>
        </p:spPr>
      </p:pic>
      <p:sp>
        <p:nvSpPr>
          <p:cNvPr id="54" name="Shape 172"/>
          <p:cNvSpPr txBox="1"/>
          <p:nvPr/>
        </p:nvSpPr>
        <p:spPr>
          <a:xfrm>
            <a:off x="1653261" y="6211854"/>
            <a:ext cx="9014739" cy="64633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>
              <a:buSzPct val="25000"/>
            </a:pP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  <a:sym typeface="Calibri"/>
              </a:rPr>
              <a:t>Размер электронного портфеля не ограничен. </a:t>
            </a:r>
          </a:p>
          <a:p>
            <a:pPr algn="ctr">
              <a:buSzPct val="25000"/>
            </a:pP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  <a:sym typeface="Calibri"/>
              </a:rPr>
              <a:t>Работаем с контентом из облака и/или закачиваем в память устройства</a:t>
            </a:r>
          </a:p>
        </p:txBody>
      </p:sp>
      <p:pic>
        <p:nvPicPr>
          <p:cNvPr id="3" name="Рисунок 2" descr="Вырезка экрана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48" y="1298259"/>
            <a:ext cx="9518375" cy="475028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7152" y="29062"/>
            <a:ext cx="11457711" cy="71195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9635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525600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27374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256575" y="4187650"/>
            <a:ext cx="749663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378065" y="1848980"/>
            <a:ext cx="745635" cy="101320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ТЕКУЩИЙ ПОРТФЕЛЬ КОРПОРАЦИИ «РОССИЙСКИЙ УЧЕБНИК» </a:t>
            </a:r>
            <a:br>
              <a:rPr lang="ru-RU" sz="2400" dirty="0" smtClean="0">
                <a:latin typeface="+mj-lt"/>
              </a:rPr>
            </a:b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ПО БИОЛОГИИ, ДОСТУПНЫЙ ДЛЯ ЗАКУПКИ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00432" y="644635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4464595" y="643893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8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1103829" y="6438938"/>
            <a:ext cx="249660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900" dirty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ые </a:t>
            </a: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пособия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239733" y="644635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rgbClr val="181818"/>
              </a:solidFill>
            </a:endParaRPr>
          </a:p>
        </p:txBody>
      </p:sp>
      <p:pic>
        <p:nvPicPr>
          <p:cNvPr id="75" name="Рисунок 74"/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549583" y="1848980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6" name="Рисунок 75"/>
          <p:cNvPicPr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704323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Рисунок 76"/>
          <p:cNvPicPr>
            <a:picLocks/>
          </p:cNvPicPr>
          <p:nvPr/>
        </p:nvPicPr>
        <p:blipFill rotWithShape="1">
          <a:blip r:embed="rId10" cstate="print"/>
          <a:srcRect l="2357" t="718"/>
          <a:stretch/>
        </p:blipFill>
        <p:spPr>
          <a:xfrm>
            <a:off x="7101244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8" name="Рисунок 77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941353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9" name="Text Placeholder 3"/>
          <p:cNvSpPr txBox="1">
            <a:spLocks/>
          </p:cNvSpPr>
          <p:nvPr/>
        </p:nvSpPr>
        <p:spPr>
          <a:xfrm>
            <a:off x="1452233" y="1073449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Линия УМК Пасечника В.В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97481" y="2557538"/>
            <a:ext cx="15677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ОСНОВНАЯ </a:t>
            </a:r>
          </a:p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97481" y="4737968"/>
            <a:ext cx="15677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СТАРШАЯ </a:t>
            </a:r>
          </a:p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2" name="Text Placeholder 3"/>
          <p:cNvSpPr txBox="1">
            <a:spLocks/>
          </p:cNvSpPr>
          <p:nvPr/>
        </p:nvSpPr>
        <p:spPr>
          <a:xfrm>
            <a:off x="3098780" y="1090982"/>
            <a:ext cx="2441333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Пономаревой И.Н. и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3" name="Text Placeholder 3"/>
          <p:cNvSpPr txBox="1">
            <a:spLocks/>
          </p:cNvSpPr>
          <p:nvPr/>
        </p:nvSpPr>
        <p:spPr>
          <a:xfrm>
            <a:off x="5722079" y="1088470"/>
            <a:ext cx="2187468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Сонина Н.И. и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6" name="Text Placeholder 3"/>
          <p:cNvSpPr txBox="1">
            <a:spLocks/>
          </p:cNvSpPr>
          <p:nvPr/>
        </p:nvSpPr>
        <p:spPr>
          <a:xfrm>
            <a:off x="8080535" y="1082880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Суховой Т.С. </a:t>
            </a:r>
            <a:r>
              <a:rPr lang="ru-RU" sz="1400" dirty="0">
                <a:solidFill>
                  <a:srgbClr val="181818"/>
                </a:solidFill>
                <a:latin typeface="Calibri"/>
              </a:rPr>
              <a:t>и</a:t>
            </a: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9" name="Text Placeholder 3"/>
          <p:cNvSpPr txBox="1">
            <a:spLocks/>
          </p:cNvSpPr>
          <p:nvPr/>
        </p:nvSpPr>
        <p:spPr>
          <a:xfrm>
            <a:off x="9904703" y="1062875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</a:t>
            </a:r>
            <a:r>
              <a:rPr lang="ru-RU" sz="1400" dirty="0" err="1" smtClean="0">
                <a:solidFill>
                  <a:srgbClr val="181818"/>
                </a:solidFill>
                <a:latin typeface="Calibri"/>
              </a:rPr>
              <a:t>Сивоглазова</a:t>
            </a: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 В.И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141833" y="3909638"/>
            <a:ext cx="11232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1" name="Прямая соединительная линия 90"/>
          <p:cNvCxnSpPr/>
          <p:nvPr/>
        </p:nvCxnSpPr>
        <p:spPr>
          <a:xfrm flipV="1">
            <a:off x="3075321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141833" y="1670498"/>
            <a:ext cx="11232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3" name="Прямая соединительная линия 92"/>
          <p:cNvCxnSpPr/>
          <p:nvPr/>
        </p:nvCxnSpPr>
        <p:spPr>
          <a:xfrm flipV="1">
            <a:off x="1410043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4" name="Прямая соединительная линия 93"/>
          <p:cNvCxnSpPr/>
          <p:nvPr/>
        </p:nvCxnSpPr>
        <p:spPr>
          <a:xfrm flipV="1">
            <a:off x="5566383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8078876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6" name="Прямая соединительная линия 95"/>
          <p:cNvCxnSpPr/>
          <p:nvPr/>
        </p:nvCxnSpPr>
        <p:spPr>
          <a:xfrm flipH="1" flipV="1">
            <a:off x="9840927" y="1104185"/>
            <a:ext cx="0" cy="5013811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pic>
        <p:nvPicPr>
          <p:cNvPr id="97" name="Рисунок 96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00197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8" name="Рисунок 97"/>
          <p:cNvPicPr>
            <a:picLocks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727687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882683" y="441103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Рисунок 99"/>
          <p:cNvPicPr>
            <a:picLocks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466161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326884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Рисунок 101"/>
          <p:cNvPicPr>
            <a:picLocks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5820180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3" name="Рисунок 102"/>
          <p:cNvPicPr>
            <a:picLocks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706342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4" name="Рисунок 10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63577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5" name="Рисунок 104"/>
          <p:cNvPicPr>
            <a:picLocks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8439023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6" name="Рисунок 105"/>
          <p:cNvPicPr>
            <a:picLocks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524753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7" name="Рисунок 106"/>
          <p:cNvPicPr>
            <a:picLocks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3519447" y="4099992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8" name="Рисунок 107"/>
          <p:cNvPicPr>
            <a:picLocks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3346375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9" name="Рисунок 108"/>
          <p:cNvPicPr>
            <a:picLocks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4451972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0" name="Рисунок 109"/>
          <p:cNvPicPr>
            <a:picLocks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5971131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Рисунок 110"/>
          <p:cNvPicPr>
            <a:picLocks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5785061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2" name="Рисунок 111"/>
          <p:cNvPicPr>
            <a:picLocks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967257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" name="Рисунок 112"/>
          <p:cNvPicPr>
            <a:picLocks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8423311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6973651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5" name="Прямоугольник 114"/>
          <p:cNvSpPr/>
          <p:nvPr/>
        </p:nvSpPr>
        <p:spPr>
          <a:xfrm>
            <a:off x="1448955" y="3668990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 smtClean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6" name="Скругленный прямоугольник 115"/>
          <p:cNvSpPr/>
          <p:nvPr/>
        </p:nvSpPr>
        <p:spPr>
          <a:xfrm>
            <a:off x="3232361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ФП </a:t>
            </a:r>
            <a:r>
              <a:rPr lang="ru-RU" sz="1200" b="1" dirty="0">
                <a:solidFill>
                  <a:srgbClr val="FFFFFF"/>
                </a:solidFill>
              </a:rPr>
              <a:t>1.2.5.2.6.1 – 1.2.5.2.6.4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5753817" y="3668990"/>
            <a:ext cx="2162715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8132044" y="3668990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452233" y="5823532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3212973" y="5823532"/>
            <a:ext cx="2104967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8132044" y="5823532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pic>
        <p:nvPicPr>
          <p:cNvPr id="126" name="Рисунок 125"/>
          <p:cNvPicPr>
            <a:picLocks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4475600" y="2224390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7" name="Скругленный прямоугольник 126"/>
          <p:cNvSpPr/>
          <p:nvPr/>
        </p:nvSpPr>
        <p:spPr>
          <a:xfrm>
            <a:off x="4341337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2.5.2.3.1 – </a:t>
            </a:r>
            <a:r>
              <a:rPr lang="ru-RU" sz="1200" b="1" dirty="0" smtClean="0">
                <a:solidFill>
                  <a:srgbClr val="FFFFFF"/>
                </a:solidFill>
              </a:rPr>
              <a:t>1.2.5.2.3.5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5682119" y="5574275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3.5.6.6.1 – 1.3.5.6.6.2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10081763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ФП </a:t>
            </a:r>
            <a:r>
              <a:rPr lang="ru-RU" sz="1200" b="1" dirty="0">
                <a:solidFill>
                  <a:srgbClr val="FFFFFF"/>
                </a:solidFill>
              </a:rPr>
              <a:t>1.2.5.2.5.1 – 1.2.5.2.5.5</a:t>
            </a: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10081763" y="5574275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3.5.6.1.1 – </a:t>
            </a:r>
            <a:r>
              <a:rPr lang="ru-RU" sz="1200" b="1" dirty="0" smtClean="0">
                <a:solidFill>
                  <a:srgbClr val="FFFFFF"/>
                </a:solidFill>
              </a:rPr>
              <a:t>1.3.5.6.1.2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6808703" y="5823532"/>
            <a:ext cx="121145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10155028" y="2221764"/>
            <a:ext cx="742453" cy="100183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147885" y="4399871"/>
            <a:ext cx="749663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289488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416" y="1554742"/>
            <a:ext cx="3560991" cy="5071458"/>
          </a:xfrm>
          <a:prstGeom prst="rect">
            <a:avLst/>
          </a:prstGeom>
        </p:spPr>
      </p:pic>
      <p:pic>
        <p:nvPicPr>
          <p:cNvPr id="16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83220" y="1894227"/>
            <a:ext cx="3948519" cy="461208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591944" y="1556797"/>
            <a:ext cx="4248472" cy="5964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 flipH="1">
            <a:off x="1736300" y="221673"/>
            <a:ext cx="45719" cy="855564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b="1" dirty="0">
              <a:ln w="0"/>
              <a:solidFill>
                <a:srgbClr val="009999"/>
              </a:solidFill>
              <a:latin typeface="Cambria" panose="020405030504060302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70260" y="1017724"/>
            <a:ext cx="769143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24691"/>
            <a:ext cx="10820400" cy="1232600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>
                <a:solidFill>
                  <a:srgbClr val="FFFF00"/>
                </a:solidFill>
              </a:rPr>
              <a:t>Условные обозначения для навигации ЭФУ</a:t>
            </a:r>
            <a:endParaRPr lang="ru-RU" b="1" dirty="0">
              <a:solidFill>
                <a:srgbClr val="FFFF00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5371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914400">
              <a:spcBef>
                <a:spcPts val="0"/>
              </a:spcBef>
            </a:pPr>
            <a:r>
              <a:rPr lang="ru-RU" sz="3600" b="1" dirty="0" smtClean="0">
                <a:solidFill>
                  <a:srgbClr val="FFFF00"/>
                </a:solidFill>
                <a:ea typeface="+mn-ea"/>
                <a:cs typeface="+mn-cs"/>
              </a:rPr>
              <a:t>ЭФУ - простая </a:t>
            </a:r>
            <a:r>
              <a:rPr lang="ru-RU" sz="3600" b="1" dirty="0">
                <a:solidFill>
                  <a:srgbClr val="FFFF00"/>
                </a:solidFill>
                <a:ea typeface="+mn-ea"/>
                <a:cs typeface="+mn-cs"/>
              </a:rPr>
              <a:t>навигация: интерактивное оглавление</a:t>
            </a:r>
            <a:br>
              <a:rPr lang="ru-RU" sz="3600" b="1" dirty="0">
                <a:solidFill>
                  <a:srgbClr val="FFFF00"/>
                </a:solidFill>
                <a:ea typeface="+mn-ea"/>
                <a:cs typeface="+mn-cs"/>
              </a:rPr>
            </a:br>
            <a:endParaRPr lang="ru-RU" sz="3600" b="1" dirty="0">
              <a:solidFill>
                <a:srgbClr val="FFFF00"/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920523" y="1520456"/>
            <a:ext cx="8498096" cy="460570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8384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algn="ctr" defTabSz="914400">
              <a:spcBef>
                <a:spcPts val="0"/>
              </a:spcBef>
            </a:pPr>
            <a:r>
              <a:rPr lang="ru-RU" sz="24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ФУ- простая </a:t>
            </a:r>
            <a:r>
              <a:rPr lang="ru-RU" sz="24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вигация: поиск страницы бумажного учебника</a:t>
            </a:r>
            <a:r>
              <a:rPr lang="ru-RU" sz="2400" dirty="0">
                <a:solidFill>
                  <a:prstClr val="black"/>
                </a:solidFill>
                <a:latin typeface="Cambria" panose="02040503050406030204" pitchFamily="18" charset="0"/>
                <a:ea typeface="+mn-ea"/>
                <a:cs typeface="+mn-cs"/>
              </a:rPr>
              <a:t/>
            </a:r>
            <a:br>
              <a:rPr lang="ru-RU" sz="2400" dirty="0">
                <a:solidFill>
                  <a:prstClr val="black"/>
                </a:solidFill>
                <a:latin typeface="Cambria" panose="02040503050406030204" pitchFamily="18" charset="0"/>
                <a:ea typeface="+mn-ea"/>
                <a:cs typeface="+mn-cs"/>
              </a:rPr>
            </a:b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078039" y="1694326"/>
            <a:ext cx="10035937" cy="433771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9262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algn="ctr" defTabSz="914400">
              <a:spcBef>
                <a:spcPts val="0"/>
              </a:spcBef>
            </a:pPr>
            <a:r>
              <a:rPr lang="ru-RU" sz="40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ФУ - простая </a:t>
            </a:r>
            <a:r>
              <a:rPr lang="ru-RU" sz="40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вигация: «Закладки»</a:t>
            </a:r>
            <a:br>
              <a:rPr lang="ru-RU" sz="40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40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67340" y="1600204"/>
            <a:ext cx="9857320" cy="452596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7551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algn="ctr" defTabSz="914400">
              <a:spcBef>
                <a:spcPts val="0"/>
              </a:spcBef>
            </a:pPr>
            <a:r>
              <a:rPr lang="ru-RU" sz="44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/>
            </a:r>
            <a:br>
              <a:rPr lang="ru-RU" sz="44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44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ФУ - простая </a:t>
            </a:r>
            <a:r>
              <a:rPr lang="ru-RU" sz="44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вигация: «Заметки»</a:t>
            </a:r>
            <a:br>
              <a:rPr lang="ru-RU" sz="44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44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77488" y="2017154"/>
            <a:ext cx="9637039" cy="369206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1349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60" y="152402"/>
            <a:ext cx="11665527" cy="1204891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ые тренажеры</a:t>
            </a:r>
            <a:endParaRPr lang="ru-RU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96948" y="1350120"/>
            <a:ext cx="9580099" cy="4747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24841" y="1654420"/>
            <a:ext cx="3676651" cy="453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3731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ые тренажеры</a:t>
            </a:r>
            <a:b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я к выполнению тестов</a:t>
            </a:r>
            <a:endParaRPr lang="ru-RU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21471" y="1600204"/>
            <a:ext cx="874907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55242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400" b="1" dirty="0">
                <a:solidFill>
                  <a:srgbClr val="FFFF00"/>
                </a:solidFill>
              </a:rPr>
              <a:t/>
            </a:r>
            <a:br>
              <a:rPr lang="ru-RU" sz="3400" b="1" dirty="0">
                <a:solidFill>
                  <a:srgbClr val="FFFF00"/>
                </a:solidFill>
              </a:rPr>
            </a:br>
            <a:r>
              <a:rPr lang="ru-RU" sz="3400" b="1" dirty="0">
                <a:solidFill>
                  <a:srgbClr val="FFFF00"/>
                </a:solidFill>
              </a:rPr>
              <a:t/>
            </a:r>
            <a:br>
              <a:rPr lang="ru-RU" sz="3400" b="1" dirty="0">
                <a:solidFill>
                  <a:srgbClr val="FFFF00"/>
                </a:solidFill>
              </a:rPr>
            </a:b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925781" y="1600204"/>
            <a:ext cx="8742219" cy="452596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048000" y="313900"/>
            <a:ext cx="6096000" cy="94378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733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ые тренажеры</a:t>
            </a:r>
            <a:br>
              <a:rPr lang="ru-RU" sz="3733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solidFill>
                <a:srgbClr val="51515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207369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ники заданий для подготовки к ЕГЭ и ОГЭ</a:t>
            </a:r>
            <a:endParaRPr lang="ru-RU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379632" y="1600204"/>
            <a:ext cx="7432751" cy="452596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864945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12"/>
          <p:cNvSpPr/>
          <p:nvPr/>
        </p:nvSpPr>
        <p:spPr>
          <a:xfrm>
            <a:off x="5164072" y="4043417"/>
            <a:ext cx="2161311" cy="1349377"/>
          </a:xfrm>
          <a:prstGeom prst="roundRect">
            <a:avLst/>
          </a:prstGeom>
          <a:blipFill>
            <a:blip r:embed="rId2" cstate="print"/>
            <a:stretch>
              <a:fillRect l="-58791" t="-1" r="-3239" b="-568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2300" b="1" dirty="0">
                <a:solidFill>
                  <a:srgbClr val="4472C4">
                    <a:lumMod val="50000"/>
                  </a:srgbClr>
                </a:solidFill>
                <a:latin typeface="Cambria" panose="02040503050406030204" pitchFamily="18" charset="0"/>
              </a:rPr>
              <a:t>         </a:t>
            </a:r>
          </a:p>
        </p:txBody>
      </p:sp>
      <p:sp>
        <p:nvSpPr>
          <p:cNvPr id="24" name="Прямоугольник: скругленные углы 23"/>
          <p:cNvSpPr/>
          <p:nvPr/>
        </p:nvSpPr>
        <p:spPr>
          <a:xfrm>
            <a:off x="5774123" y="3599587"/>
            <a:ext cx="788361" cy="704803"/>
          </a:xfrm>
          <a:prstGeom prst="roundRect">
            <a:avLst/>
          </a:prstGeom>
          <a:blipFill>
            <a:blip r:embed="rId2" cstate="print"/>
            <a:stretch>
              <a:fillRect t="-1" r="-179448" b="-568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2300" b="1" dirty="0">
                <a:solidFill>
                  <a:srgbClr val="4472C4">
                    <a:lumMod val="50000"/>
                  </a:srgbClr>
                </a:solidFill>
                <a:latin typeface="Cambria" panose="02040503050406030204" pitchFamily="18" charset="0"/>
              </a:rPr>
              <a:t>         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977" y="173726"/>
            <a:ext cx="1352408" cy="477063"/>
          </a:xfrm>
          <a:prstGeom prst="rect">
            <a:avLst/>
          </a:prstGeom>
        </p:spPr>
      </p:pic>
      <p:pic>
        <p:nvPicPr>
          <p:cNvPr id="31" name="Picture 2" descr="https://avatars.mds.yandex.net/get-mail-signature/329338/6409938b59f2f200c6d685c52098dc2f/ori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8593" y="831209"/>
            <a:ext cx="2677259" cy="397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Изображение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7311" y="1769730"/>
            <a:ext cx="5548921" cy="4880706"/>
          </a:xfrm>
          <a:prstGeom prst="rect">
            <a:avLst/>
          </a:prstGeom>
        </p:spPr>
      </p:pic>
      <p:sp>
        <p:nvSpPr>
          <p:cNvPr id="33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sz="5400" b="1" dirty="0">
                <a:ln w="0"/>
                <a:solidFill>
                  <a:srgbClr val="FFFF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+mn-ea"/>
                <a:cs typeface="+mn-cs"/>
              </a:rPr>
              <a:t>LECTA сегодня</a:t>
            </a:r>
            <a:endParaRPr lang="ru-RU" b="1" dirty="0">
              <a:ln w="0"/>
              <a:solidFill>
                <a:srgbClr val="FFFF00"/>
              </a:solidFill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4056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6328644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28398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053061" y="4764265"/>
            <a:ext cx="8138939" cy="12594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4053063" y="1063456"/>
            <a:ext cx="8138937" cy="3585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654571" y="1722868"/>
            <a:ext cx="1548000" cy="458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Пасечника (5-11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654571" y="5196551"/>
            <a:ext cx="1548000" cy="4340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Сонина (</a:t>
            </a:r>
            <a:r>
              <a:rPr lang="ru-RU" sz="1200" dirty="0" err="1">
                <a:solidFill>
                  <a:srgbClr val="181818"/>
                </a:solidFill>
              </a:rPr>
              <a:t>конц</a:t>
            </a:r>
            <a:r>
              <a:rPr lang="ru-RU" sz="1200" dirty="0">
                <a:solidFill>
                  <a:srgbClr val="181818"/>
                </a:solidFill>
              </a:rPr>
              <a:t>.) (5-9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654571" y="3875606"/>
            <a:ext cx="1548000" cy="4597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Сонина </a:t>
            </a:r>
          </a:p>
          <a:p>
            <a:r>
              <a:rPr lang="ru-RU" sz="1200" dirty="0">
                <a:solidFill>
                  <a:srgbClr val="181818"/>
                </a:solidFill>
              </a:rPr>
              <a:t>(</a:t>
            </a:r>
            <a:r>
              <a:rPr lang="ru-RU" sz="1200" dirty="0" err="1">
                <a:solidFill>
                  <a:srgbClr val="181818"/>
                </a:solidFill>
              </a:rPr>
              <a:t>лин</a:t>
            </a:r>
            <a:r>
              <a:rPr lang="ru-RU" sz="1200" dirty="0">
                <a:solidFill>
                  <a:srgbClr val="181818"/>
                </a:solidFill>
              </a:rPr>
              <a:t>.) (5-9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642300" y="2685053"/>
            <a:ext cx="1548000" cy="57289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</a:t>
            </a:r>
            <a:r>
              <a:rPr lang="ru-RU" sz="1200" dirty="0" smtClean="0">
                <a:solidFill>
                  <a:srgbClr val="181818"/>
                </a:solidFill>
              </a:rPr>
              <a:t>Суховой. </a:t>
            </a:r>
            <a:r>
              <a:rPr lang="ru-RU" sz="1200" dirty="0">
                <a:solidFill>
                  <a:srgbClr val="181818"/>
                </a:solidFill>
              </a:rPr>
              <a:t>Живая природа </a:t>
            </a:r>
          </a:p>
          <a:p>
            <a:r>
              <a:rPr lang="ru-RU" sz="1200" dirty="0">
                <a:solidFill>
                  <a:srgbClr val="181818"/>
                </a:solidFill>
              </a:rPr>
              <a:t>(5-11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5224641" y="213014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Пономаревой (</a:t>
            </a:r>
            <a:r>
              <a:rPr lang="ru-RU" sz="1200" b="1" dirty="0" err="1">
                <a:solidFill>
                  <a:srgbClr val="FFFFFF"/>
                </a:solidFill>
              </a:rPr>
              <a:t>конц</a:t>
            </a:r>
            <a:r>
              <a:rPr lang="ru-RU" sz="1200" b="1" dirty="0">
                <a:solidFill>
                  <a:srgbClr val="FFFFFF"/>
                </a:solidFill>
              </a:rPr>
              <a:t>.) </a:t>
            </a:r>
            <a:r>
              <a:rPr lang="ru-RU" sz="1200" b="1" dirty="0" smtClean="0">
                <a:solidFill>
                  <a:srgbClr val="FFFFFF"/>
                </a:solidFill>
              </a:rPr>
              <a:t>(</a:t>
            </a:r>
            <a:r>
              <a:rPr lang="ru-RU" sz="1200" b="1" dirty="0">
                <a:solidFill>
                  <a:srgbClr val="FFFFFF"/>
                </a:solidFill>
              </a:rPr>
              <a:t>5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5224641" y="375638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Пономаревой (</a:t>
            </a:r>
            <a:r>
              <a:rPr lang="ru-RU" sz="1200" b="1" dirty="0" err="1">
                <a:solidFill>
                  <a:srgbClr val="FFFFFF"/>
                </a:solidFill>
              </a:rPr>
              <a:t>лин</a:t>
            </a:r>
            <a:r>
              <a:rPr lang="ru-RU" sz="1200" b="1" dirty="0">
                <a:solidFill>
                  <a:srgbClr val="FFFFFF"/>
                </a:solidFill>
              </a:rPr>
              <a:t>.) </a:t>
            </a:r>
            <a:r>
              <a:rPr lang="ru-RU" sz="1200" b="1" dirty="0" smtClean="0">
                <a:solidFill>
                  <a:srgbClr val="FFFFFF"/>
                </a:solidFill>
              </a:rPr>
              <a:t>(</a:t>
            </a:r>
            <a:r>
              <a:rPr lang="ru-RU" sz="1200" b="1" dirty="0">
                <a:solidFill>
                  <a:srgbClr val="FFFFFF"/>
                </a:solidFill>
              </a:rPr>
              <a:t>5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5224641" y="512734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 err="1" smtClean="0">
                <a:solidFill>
                  <a:srgbClr val="FFFFFF"/>
                </a:solidFill>
              </a:rPr>
              <a:t>Сивоглазова</a:t>
            </a:r>
            <a:r>
              <a:rPr lang="ru-RU" sz="1200" b="1" dirty="0" smtClean="0">
                <a:solidFill>
                  <a:srgbClr val="FFFFFF"/>
                </a:solidFill>
              </a:rPr>
              <a:t> (</a:t>
            </a:r>
            <a:r>
              <a:rPr lang="ru-RU" sz="1200" b="1" dirty="0" err="1" smtClean="0">
                <a:solidFill>
                  <a:srgbClr val="FFFFFF"/>
                </a:solidFill>
              </a:rPr>
              <a:t>конц</a:t>
            </a:r>
            <a:r>
              <a:rPr lang="ru-RU" sz="1200" b="1" dirty="0" smtClean="0">
                <a:solidFill>
                  <a:srgbClr val="FFFFFF"/>
                </a:solidFill>
              </a:rPr>
              <a:t>.) (5-9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9398244" y="5092787"/>
            <a:ext cx="1728000" cy="511155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 err="1" smtClean="0">
                <a:solidFill>
                  <a:srgbClr val="FFFFFF"/>
                </a:solidFill>
              </a:rPr>
              <a:t>Сивоглазова</a:t>
            </a:r>
            <a:r>
              <a:rPr lang="ru-RU" sz="1200" b="1" dirty="0">
                <a:solidFill>
                  <a:srgbClr val="FFFFFF"/>
                </a:solidFill>
              </a:rPr>
              <a:t> </a:t>
            </a:r>
            <a:r>
              <a:rPr lang="ru-RU" sz="1200" b="1" dirty="0" smtClean="0">
                <a:solidFill>
                  <a:srgbClr val="FFFFFF"/>
                </a:solidFill>
              </a:rPr>
              <a:t>(10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pic>
        <p:nvPicPr>
          <p:cNvPr id="90" name="Picture 5" descr="C:\Users\Gabyash.DE\Desktop\cover1__w600 (11).jp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5857" y="1908699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1" name="Picture 3" descr="C:\Users\Gabyash.DE\Desktop\cover1__w600 (9)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47439" y="2010258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2" name="Picture 28" descr="ÐÐ¸Ð¾Ð»Ð¾Ð³Ð¸Ñ. 9 ÐºÐ»Ð°ÑÑ. Ð§ÐµÐ»Ð¾Ð²ÐµÐº. Ð£ÑÐµÐ±Ð½Ð¸Ðº (Ð¡Ð¸Ð½Ð¸Ð¹). ÐÐÐ Ð¢ÐÐÐÐÐ¬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19" y="3743988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6" descr="ÐÐ¸Ð¾Ð»Ð¾Ð³Ð¸Ñ. ÐÐ²ÐµÐ´ÐµÐ½Ð¸Ðµ Ð² Ð±Ð¸Ð¾Ð»Ð¾Ð³Ð¸Ñ. 5 ÐºÐ»Ð°ÑÑ. (Ð¡Ð¸Ð½Ð¸Ð¹). ÐÐÐ Ð¢ÐÐÐÐÐ¬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81" y="3821749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33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19" y="5052498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31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81" y="5122313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37" descr="ÐÐ¸Ð¾Ð»Ð¾Ð³Ð¸Ñ. 9 ÐºÐ»Ð°ÑÑ. ÐÐ²ÐµÐ´ÐµÐ½Ð¸Ðµ Ð² Ð¾Ð±ÑÑÑ Ð±Ð¸Ð¾Ð»Ð¾Ð³Ð¸Ñ. Ð£ÑÐµÐ±Ð½Ð¸Ðº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28" y="1548973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35" descr="ÐÐ¸Ð¾Ð»Ð¾Ð³Ð¸Ñ. 5 ÐºÐ»Ð°ÑÑ. ÐÐ°ÐºÑÐµÑÐ¸Ð¸, Ð³ÑÐ¸Ð±Ñ, ÑÐ°ÑÑÐµÐ½Ð¸Ñ. Ð£ÑÐµÐ±Ð½Ð¸Ðº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60" y="1676537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3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927" y="3560298"/>
            <a:ext cx="540000" cy="7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41" descr="ÐÐ¸Ð¾Ð»Ð¾Ð³Ð¸Ñ. 5-6Â ÐºÐ»Ð°ÑÑ. Ð£ÑÐµÐ±Ð½Ð¸Ðº.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439" y="3657964"/>
            <a:ext cx="540000" cy="7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Рисунок 35" descr="Биология. 9  класс. Учебник">
            <a:hlinkClick r:id="rId15" tooltip="&quot;Биология. 9  класс. Учебник&quot;"/>
          </p:cNvPr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66319" y="2607983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06" name="Прямоугольник 105"/>
          <p:cNvSpPr/>
          <p:nvPr/>
        </p:nvSpPr>
        <p:spPr>
          <a:xfrm>
            <a:off x="9398244" y="2858263"/>
            <a:ext cx="1728000" cy="511723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Сонина  </a:t>
            </a:r>
          </a:p>
          <a:p>
            <a:r>
              <a:rPr lang="ru-RU" sz="1200" b="1" dirty="0">
                <a:solidFill>
                  <a:srgbClr val="FFFFFF"/>
                </a:solidFill>
              </a:rPr>
              <a:t>(10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pic>
        <p:nvPicPr>
          <p:cNvPr id="110" name="Picture 6" descr="C:\Users\Gabyash.DE\Desktop\cover1__w600 (21).jpg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725188" y="2665791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Picture 5" descr="C:\Users\Gabyash.DE\Desktop\cover1__w600 (20).jpg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581172" y="2825748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71481" y="2747786"/>
            <a:ext cx="540000" cy="72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Заголовок 1"/>
          <p:cNvSpPr txBox="1">
            <a:spLocks/>
          </p:cNvSpPr>
          <p:nvPr/>
        </p:nvSpPr>
        <p:spPr>
          <a:xfrm>
            <a:off x="237604" y="198848"/>
            <a:ext cx="11869200" cy="745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400" b="1">
                <a:solidFill>
                  <a:srgbClr val="2D349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ШИ РЕКОМЕНДАЦИИ ПО ПЕРЕХОДАМ НА УМК ПО </a:t>
            </a:r>
            <a:r>
              <a:rPr lang="ru-RU" dirty="0">
                <a:solidFill>
                  <a:srgbClr val="EB2049"/>
                </a:solidFill>
              </a:rPr>
              <a:t>БИОЛОГИИ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7357751" y="5346174"/>
            <a:ext cx="1070732" cy="526"/>
          </a:xfrm>
          <a:prstGeom prst="line">
            <a:avLst/>
          </a:prstGeom>
          <a:solidFill>
            <a:srgbClr val="AE2C25"/>
          </a:solidFill>
          <a:ln w="12700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cxnSp>
        <p:nvCxnSpPr>
          <p:cNvPr id="7" name="Соединительная линия уступом 6"/>
          <p:cNvCxnSpPr>
            <a:stCxn id="84" idx="3"/>
          </p:cNvCxnSpPr>
          <p:nvPr/>
        </p:nvCxnSpPr>
        <p:spPr>
          <a:xfrm>
            <a:off x="7338155" y="2387412"/>
            <a:ext cx="1045180" cy="798133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cxnSp>
        <p:nvCxnSpPr>
          <p:cNvPr id="9" name="Соединительная линия уступом 8"/>
          <p:cNvCxnSpPr>
            <a:stCxn id="85" idx="3"/>
          </p:cNvCxnSpPr>
          <p:nvPr/>
        </p:nvCxnSpPr>
        <p:spPr>
          <a:xfrm flipV="1">
            <a:off x="7338155" y="3183455"/>
            <a:ext cx="1045180" cy="830201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sp>
        <p:nvSpPr>
          <p:cNvPr id="113" name="Прямоугольник 112"/>
          <p:cNvSpPr/>
          <p:nvPr/>
        </p:nvSpPr>
        <p:spPr>
          <a:xfrm>
            <a:off x="4065339" y="1108836"/>
            <a:ext cx="7249393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b="1" dirty="0" smtClean="0">
                <a:solidFill>
                  <a:srgbClr val="2D3494"/>
                </a:solidFill>
              </a:rPr>
              <a:t>ПРЕЕМСТВЕННЫЕ ЛИНИИ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3920032" y="640196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4784195" y="639454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8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1423429" y="6325349"/>
            <a:ext cx="249660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900" dirty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ые пособия. По запросу могут быть предоставлены учебники 2018 года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559336" y="640196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rgbClr val="181818"/>
              </a:solidFill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36472" y="1118564"/>
            <a:ext cx="2466099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b="1" dirty="0" smtClean="0">
                <a:solidFill>
                  <a:srgbClr val="2D3494"/>
                </a:solidFill>
              </a:rPr>
              <a:t>ПЕРЕХОДЫ</a:t>
            </a:r>
          </a:p>
        </p:txBody>
      </p:sp>
      <p:grpSp>
        <p:nvGrpSpPr>
          <p:cNvPr id="63" name="Group 115"/>
          <p:cNvGrpSpPr/>
          <p:nvPr/>
        </p:nvGrpSpPr>
        <p:grpSpPr>
          <a:xfrm>
            <a:off x="3417548" y="2072309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76" name="Group 115"/>
          <p:cNvGrpSpPr/>
          <p:nvPr/>
        </p:nvGrpSpPr>
        <p:grpSpPr>
          <a:xfrm>
            <a:off x="3417548" y="3698650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77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78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79" name="Group 115"/>
          <p:cNvGrpSpPr/>
          <p:nvPr/>
        </p:nvGrpSpPr>
        <p:grpSpPr>
          <a:xfrm>
            <a:off x="3417548" y="5069509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88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89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10945913" y="2556716"/>
            <a:ext cx="460875" cy="450001"/>
            <a:chOff x="8680821" y="529995"/>
            <a:chExt cx="474669" cy="444349"/>
          </a:xfrm>
        </p:grpSpPr>
        <p:sp>
          <p:nvSpPr>
            <p:cNvPr id="68" name="object 26"/>
            <p:cNvSpPr/>
            <p:nvPr/>
          </p:nvSpPr>
          <p:spPr>
            <a:xfrm>
              <a:off x="8680821" y="529995"/>
              <a:ext cx="474669" cy="4443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>
                <a:solidFill>
                  <a:srgbClr val="181818"/>
                </a:solidFill>
              </a:endParaRPr>
            </a:p>
          </p:txBody>
        </p:sp>
        <p:sp>
          <p:nvSpPr>
            <p:cNvPr id="69" name="object 28"/>
            <p:cNvSpPr txBox="1"/>
            <p:nvPr/>
          </p:nvSpPr>
          <p:spPr>
            <a:xfrm>
              <a:off x="8824170" y="553968"/>
              <a:ext cx="175127" cy="37672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Б</a:t>
              </a:r>
              <a:r>
                <a:rPr lang="ru-RU" sz="2400" spc="-305" dirty="0" smtClean="0">
                  <a:solidFill>
                    <a:srgbClr val="2D3494"/>
                  </a:solidFill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cs typeface="Arial"/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10780116" y="4748261"/>
            <a:ext cx="874925" cy="493749"/>
            <a:chOff x="3165173" y="951958"/>
            <a:chExt cx="874925" cy="493749"/>
          </a:xfrm>
        </p:grpSpPr>
        <p:sp>
          <p:nvSpPr>
            <p:cNvPr id="71" name="object 26"/>
            <p:cNvSpPr/>
            <p:nvPr/>
          </p:nvSpPr>
          <p:spPr>
            <a:xfrm>
              <a:off x="3165173" y="951958"/>
              <a:ext cx="874925" cy="4937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>
                <a:solidFill>
                  <a:srgbClr val="181818"/>
                </a:solidFill>
              </a:endParaRPr>
            </a:p>
          </p:txBody>
        </p:sp>
        <p:sp>
          <p:nvSpPr>
            <p:cNvPr id="72" name="object 28"/>
            <p:cNvSpPr txBox="1"/>
            <p:nvPr/>
          </p:nvSpPr>
          <p:spPr>
            <a:xfrm>
              <a:off x="3319304" y="1004675"/>
              <a:ext cx="175127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Б </a:t>
              </a:r>
              <a:endParaRPr sz="2400" b="1" spc="-305" dirty="0">
                <a:solidFill>
                  <a:srgbClr val="2D3494"/>
                </a:solidFill>
                <a:cs typeface="Arial"/>
              </a:endParaRPr>
            </a:p>
          </p:txBody>
        </p:sp>
        <p:sp>
          <p:nvSpPr>
            <p:cNvPr id="73" name="object 28"/>
            <p:cNvSpPr txBox="1"/>
            <p:nvPr/>
          </p:nvSpPr>
          <p:spPr>
            <a:xfrm>
              <a:off x="3718922" y="1004675"/>
              <a:ext cx="175126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 smtClean="0">
                  <a:solidFill>
                    <a:srgbClr val="2D3494"/>
                  </a:solidFill>
                  <a:cs typeface="Arial"/>
                </a:rPr>
                <a:t>У</a:t>
              </a:r>
              <a:endParaRPr sz="2400" b="1" dirty="0">
                <a:solidFill>
                  <a:srgbClr val="2D3494"/>
                </a:solidFill>
                <a:cs typeface="Arial"/>
              </a:endParaRPr>
            </a:p>
          </p:txBody>
        </p:sp>
        <p:sp>
          <p:nvSpPr>
            <p:cNvPr id="74" name="object 28"/>
            <p:cNvSpPr txBox="1"/>
            <p:nvPr/>
          </p:nvSpPr>
          <p:spPr>
            <a:xfrm>
              <a:off x="3523977" y="994947"/>
              <a:ext cx="175126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+</a:t>
              </a:r>
              <a:r>
                <a:rPr lang="ru-RU" sz="2400" spc="-305" dirty="0" smtClean="0">
                  <a:solidFill>
                    <a:srgbClr val="2D3494"/>
                  </a:solidFill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cs typeface="Arial"/>
              </a:endParaRPr>
            </a:p>
          </p:txBody>
        </p:sp>
      </p:grpSp>
      <p:cxnSp>
        <p:nvCxnSpPr>
          <p:cNvPr id="8" name="Прямая соединительная линия 7"/>
          <p:cNvCxnSpPr/>
          <p:nvPr/>
        </p:nvCxnSpPr>
        <p:spPr>
          <a:xfrm>
            <a:off x="7863205" y="3931258"/>
            <a:ext cx="0" cy="1414916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none"/>
          </a:ln>
        </p:spPr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4530215" y="5011286"/>
            <a:ext cx="540000" cy="73378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347439" y="5113762"/>
            <a:ext cx="540000" cy="72865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Рисунок 101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610357" y="4903866"/>
            <a:ext cx="540000" cy="71519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510669" y="4998496"/>
            <a:ext cx="540000" cy="71519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6380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4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ация кода  семинара</a:t>
            </a:r>
          </a:p>
        </p:txBody>
      </p:sp>
      <p:pic>
        <p:nvPicPr>
          <p:cNvPr id="73731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94100" y="2693994"/>
            <a:ext cx="5003800" cy="2338387"/>
          </a:xfrm>
        </p:spPr>
      </p:pic>
    </p:spTree>
    <p:extLst>
      <p:ext uri="{BB962C8B-B14F-4D97-AF65-F5344CB8AC3E}">
        <p14:creationId xmlns="" xmlns:p14="http://schemas.microsoft.com/office/powerpoint/2010/main" val="78537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Рисунок 7" descr="Вырезка экрана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73798"/>
          <a:stretch>
            <a:fillRect/>
          </a:stretch>
        </p:blipFill>
        <p:spPr bwMode="auto">
          <a:xfrm>
            <a:off x="0" y="1474788"/>
            <a:ext cx="121920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Рисунок 12" descr="Вырезка экрана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151" y="2000250"/>
            <a:ext cx="28194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55751" y="220666"/>
            <a:ext cx="10083800" cy="1050925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Бесплатный доступ </a:t>
            </a:r>
            <a:r>
              <a:rPr lang="en-US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/>
            </a:r>
            <a:br>
              <a:rPr lang="en-US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</a:b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к </a:t>
            </a:r>
            <a:r>
              <a:rPr lang="en-US" sz="3600" b="1" dirty="0" smtClean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5</a:t>
            </a:r>
            <a:r>
              <a:rPr lang="ru-RU" sz="3600" b="1" dirty="0" smtClean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 </a:t>
            </a: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любым ЭФУ на платформе</a:t>
            </a:r>
            <a:endParaRPr lang="ru-RU" sz="3600" b="1" dirty="0">
              <a:ln w="0"/>
              <a:solidFill>
                <a:schemeClr val="bg1"/>
              </a:solidFill>
              <a:latin typeface="Cambria" panose="02040503050406030204" pitchFamily="18" charset="0"/>
              <a:ea typeface="+mn-ea"/>
              <a:cs typeface="+mn-cs"/>
            </a:endParaRPr>
          </a:p>
        </p:txBody>
      </p:sp>
      <p:pic>
        <p:nvPicPr>
          <p:cNvPr id="74757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551" y="133357"/>
            <a:ext cx="18415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8" name="Picture 2" descr="https://avatars.mds.yandex.net/get-mail-signature/329338/6409938b59f2f200c6d685c52098dc2f/or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5107" b="-11772"/>
          <a:stretch>
            <a:fillRect/>
          </a:stretch>
        </p:blipFill>
        <p:spPr bwMode="auto">
          <a:xfrm>
            <a:off x="135467" y="180975"/>
            <a:ext cx="2944284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35467" y="4019558"/>
            <a:ext cx="12192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полнить вход в личный кабинет на портале </a:t>
            </a:r>
            <a:r>
              <a:rPr lang="en-US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  <a:hlinkClick r:id="rId6"/>
              </a:rPr>
              <a:t>https://lecta.ru</a:t>
            </a: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, используя свой логин и пароль.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Активировать код 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(в </a:t>
            </a:r>
            <a:r>
              <a:rPr lang="ru-RU" sz="2000" b="1" dirty="0">
                <a:solidFill>
                  <a:srgbClr val="C00000"/>
                </a:solidFill>
                <a:latin typeface="Cambria" panose="02040503050406030204" pitchFamily="18" charset="0"/>
                <a:cs typeface="Arial" charset="0"/>
              </a:rPr>
              <a:t>письме с Сертификатом участника 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на </a:t>
            </a:r>
            <a:r>
              <a:rPr lang="en-US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e-mail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)</a:t>
            </a:r>
            <a:r>
              <a:rPr lang="en-US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 </a:t>
            </a:r>
            <a:endParaRPr lang="ru-RU" sz="2000" dirty="0">
              <a:solidFill>
                <a:prstClr val="black"/>
              </a:solidFill>
              <a:latin typeface="Cambria" panose="02040503050406030204" pitchFamily="18" charset="0"/>
              <a:cs typeface="Arial" charset="0"/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брать учебники, нажав кнопку «Выбрать» и «Подтвердить»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бранные учебники доступны в Вашем портфеле </a:t>
            </a:r>
            <a:r>
              <a:rPr lang="ru-RU" sz="2200" b="1" u="sng" dirty="0">
                <a:solidFill>
                  <a:srgbClr val="C00000"/>
                </a:solidFill>
                <a:latin typeface="Cambria" panose="02040503050406030204" pitchFamily="18" charset="0"/>
                <a:cs typeface="Arial" charset="0"/>
              </a:rPr>
              <a:t>в течение 60 дней</a:t>
            </a: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.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Для начала работы с учебником нажмите на обложку ЭФУ.</a:t>
            </a:r>
          </a:p>
        </p:txBody>
      </p:sp>
      <p:sp>
        <p:nvSpPr>
          <p:cNvPr id="4" name="Прямоугольник: скругленные углы 3"/>
          <p:cNvSpPr/>
          <p:nvPr/>
        </p:nvSpPr>
        <p:spPr>
          <a:xfrm>
            <a:off x="8096317" y="1474788"/>
            <a:ext cx="1672167" cy="35401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0" name="Прямая со стрелкой 9"/>
          <p:cNvCxnSpPr>
            <a:cxnSpLocks/>
          </p:cNvCxnSpPr>
          <p:nvPr/>
        </p:nvCxnSpPr>
        <p:spPr>
          <a:xfrm flipH="1">
            <a:off x="6231523" y="1828802"/>
            <a:ext cx="2569633" cy="1382713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830800" y="4089400"/>
            <a:ext cx="4144433" cy="338138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prstClr val="black"/>
                </a:solidFill>
                <a:cs typeface="Arial" charset="0"/>
                <a:hlinkClick r:id="rId7"/>
              </a:rPr>
              <a:t>http://lecta.rosuchebnin.ru</a:t>
            </a:r>
            <a:r>
              <a:rPr lang="en-US" sz="1600" b="1" dirty="0">
                <a:solidFill>
                  <a:prstClr val="black"/>
                </a:solidFill>
                <a:cs typeface="Arial" charset="0"/>
              </a:rPr>
              <a:t> </a:t>
            </a:r>
            <a:endParaRPr lang="ru-RU" sz="1600" b="1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40198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1036" y="2932116"/>
            <a:ext cx="9834033" cy="250825"/>
          </a:xfrm>
        </p:spPr>
        <p:txBody>
          <a:bodyPr rtlCol="0">
            <a:normAutofit fontScale="90000"/>
          </a:bodyPr>
          <a:lstStyle/>
          <a:p>
            <a:pPr defTabSz="914378" fontAlgn="auto"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type="subTitle" idx="1"/>
          </p:nvPr>
        </p:nvSpPr>
        <p:spPr>
          <a:xfrm>
            <a:off x="1092820" y="3182288"/>
            <a:ext cx="10169912" cy="1727875"/>
          </a:xfrm>
        </p:spPr>
        <p:txBody>
          <a:bodyPr rtlCol="0">
            <a:normAutofit fontScale="55000" lnSpcReduction="20000"/>
          </a:bodyPr>
          <a:lstStyle/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kern="10" dirty="0">
              <a:ln w="12700">
                <a:solidFill>
                  <a:srgbClr val="495E87"/>
                </a:solidFill>
                <a:round/>
                <a:headEnd/>
                <a:tailEnd/>
              </a:ln>
            </a:endParaRP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7200" b="1" dirty="0"/>
              <a:t>8-495-795-05-35</a:t>
            </a:r>
            <a:r>
              <a:rPr lang="en-US" sz="7200" b="1" dirty="0"/>
              <a:t> (</a:t>
            </a:r>
            <a:r>
              <a:rPr lang="ru-RU" sz="7200" b="1" dirty="0"/>
              <a:t>доб.71-55</a:t>
            </a:r>
            <a:r>
              <a:rPr lang="en-US" sz="7200" b="1" dirty="0"/>
              <a:t>)</a:t>
            </a:r>
            <a:r>
              <a:rPr lang="ru-RU" sz="7200" b="1" dirty="0"/>
              <a:t>, </a:t>
            </a:r>
            <a:r>
              <a:rPr lang="en-US" sz="7200" dirty="0"/>
              <a:t>Kondrateva.EM@rosuchebnik.ru</a:t>
            </a: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961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3000" b="1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Код активации</a:t>
            </a:r>
          </a:p>
        </p:txBody>
      </p:sp>
      <p:sp>
        <p:nvSpPr>
          <p:cNvPr id="7680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UMK2019 </a:t>
            </a:r>
            <a:r>
              <a:rPr lang="ru-RU" altLang="ru-RU" sz="280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ru-RU" sz="2800" dirty="0" smtClean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altLang="ru-RU" sz="2800" dirty="0" smtClean="0">
                <a:latin typeface="Times New Roman" pitchFamily="18" charset="0"/>
                <a:cs typeface="Times New Roman" pitchFamily="18" charset="0"/>
              </a:rPr>
              <a:t>ЭФУ)</a:t>
            </a: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K</a:t>
            </a: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  <a:endParaRPr lang="en-US" altLang="ru-RU" sz="27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H</a:t>
            </a:r>
            <a:r>
              <a:rPr lang="ru-RU" altLang="ru-RU" sz="45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  <a:endParaRPr lang="en-US" altLang="ru-RU" sz="27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S</a:t>
            </a: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4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</a:p>
        </p:txBody>
      </p:sp>
    </p:spTree>
    <p:extLst>
      <p:ext uri="{BB962C8B-B14F-4D97-AF65-F5344CB8AC3E}">
        <p14:creationId xmlns="" xmlns:p14="http://schemas.microsoft.com/office/powerpoint/2010/main" val="170812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19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184"/>
            <a:ext cx="11959771" cy="5429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637577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23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6285" y="-116113"/>
            <a:ext cx="12075429" cy="6371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273323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03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391888"/>
            <a:ext cx="11742056" cy="5617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978897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33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4" y="163034"/>
            <a:ext cx="11422743" cy="642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041646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p8RWW5TaOuYmhH_M9HB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EZsuYHx02sIXSkgRqsk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dCQzSLykuBF.XnsukHZ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3S2EJUqLSpex33bVW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GU7kD36k.Rr_nBixfhB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zQEZ7u06Pjjkj08VkN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dkdCZ.XUeUG_xpxxQ4H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Hg7Q2kkKPNJCTcJya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3S2EJUqLSpex33bVW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EZsuYHx02sIXSkgRqs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14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2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12.xml><?xml version="1.0" encoding="utf-8"?>
<a:theme xmlns:a="http://schemas.openxmlformats.org/drawingml/2006/main" name="1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13.xml><?xml version="1.0" encoding="utf-8"?>
<a:theme xmlns:a="http://schemas.openxmlformats.org/drawingml/2006/main" name="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14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5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7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8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9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Шаблон презентации РУ 16х9 новый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0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1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1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13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_Шаблон презентации РУ 4х3 fin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4х3" id="{7C9DC303-742F-9041-ABA3-286BD215772F}" vid="{6298532F-199B-D144-8CF4-66E44EE92E0C}"/>
    </a:ext>
  </a:extLst>
</a:theme>
</file>

<file path=ppt/theme/theme25.xml><?xml version="1.0" encoding="utf-8"?>
<a:theme xmlns:a="http://schemas.openxmlformats.org/drawingml/2006/main" name="6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26.xml><?xml version="1.0" encoding="utf-8"?>
<a:theme xmlns:a="http://schemas.openxmlformats.org/drawingml/2006/main" name="7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27.xml><?xml version="1.0" encoding="utf-8"?>
<a:theme xmlns:a="http://schemas.openxmlformats.org/drawingml/2006/main" name="8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28.xml><?xml version="1.0" encoding="utf-8"?>
<a:theme xmlns:a="http://schemas.openxmlformats.org/drawingml/2006/main" name="10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29.xml><?xml version="1.0" encoding="utf-8"?>
<a:theme xmlns:a="http://schemas.openxmlformats.org/drawingml/2006/main" name="14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3.xml><?xml version="1.0" encoding="utf-8"?>
<a:theme xmlns:a="http://schemas.openxmlformats.org/drawingml/2006/main" name="16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19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20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2_Шаблон презентации 3х4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3х4 новый" id="{9E928931-84A4-2147-8070-04EDF1C670D9}" vid="{F66E0C81-5250-114B-8641-FBB1A553E183}"/>
    </a:ext>
  </a:extLst>
</a:theme>
</file>

<file path=ppt/theme/theme34.xml><?xml version="1.0" encoding="utf-8"?>
<a:theme xmlns:a="http://schemas.openxmlformats.org/drawingml/2006/main" name="28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35.xml><?xml version="1.0" encoding="utf-8"?>
<a:theme xmlns:a="http://schemas.openxmlformats.org/drawingml/2006/main" name="30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3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7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6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8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3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15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87</TotalTime>
  <Words>1777</Words>
  <Application>Microsoft Office PowerPoint</Application>
  <PresentationFormat>Произвольный</PresentationFormat>
  <Paragraphs>347</Paragraphs>
  <Slides>53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3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3</vt:i4>
      </vt:variant>
    </vt:vector>
  </HeadingPairs>
  <TitlesOfParts>
    <vt:vector size="89" baseType="lpstr">
      <vt:lpstr>Drofa</vt:lpstr>
      <vt:lpstr>4_Шаблон презентации РУ 16х9 новый</vt:lpstr>
      <vt:lpstr>16_Drofa</vt:lpstr>
      <vt:lpstr>17_Drofa</vt:lpstr>
      <vt:lpstr>4_Drofa</vt:lpstr>
      <vt:lpstr>6_Drofa</vt:lpstr>
      <vt:lpstr>18_Drofa</vt:lpstr>
      <vt:lpstr>3_Drofa</vt:lpstr>
      <vt:lpstr>15_Drofa</vt:lpstr>
      <vt:lpstr>14_Drofa</vt:lpstr>
      <vt:lpstr>2_Шаблон презентации РУ 16х9 новый</vt:lpstr>
      <vt:lpstr>1_Шаблон презентации РУ 16х9 новый</vt:lpstr>
      <vt:lpstr>Шаблон презентации РУ 16х9 новый</vt:lpstr>
      <vt:lpstr>1_Drofa</vt:lpstr>
      <vt:lpstr>2_Drofa</vt:lpstr>
      <vt:lpstr>5_Drofa</vt:lpstr>
      <vt:lpstr>7_Drofa</vt:lpstr>
      <vt:lpstr>8_Drofa</vt:lpstr>
      <vt:lpstr>9_Drofa</vt:lpstr>
      <vt:lpstr>10_Drofa</vt:lpstr>
      <vt:lpstr>11_Drofa</vt:lpstr>
      <vt:lpstr>12_Drofa</vt:lpstr>
      <vt:lpstr>13_Drofa</vt:lpstr>
      <vt:lpstr>2_Шаблон презентации РУ 4х3 fin</vt:lpstr>
      <vt:lpstr>6_Шаблон презентации РУ 16х9 новый</vt:lpstr>
      <vt:lpstr>7_Шаблон презентации РУ 16х9 новый</vt:lpstr>
      <vt:lpstr>8_Шаблон презентации РУ 16х9 новый</vt:lpstr>
      <vt:lpstr>10_Шаблон презентации РУ 16х9 новый</vt:lpstr>
      <vt:lpstr>14_Шаблон презентации РУ 16х9 новый</vt:lpstr>
      <vt:lpstr>19_Drofa</vt:lpstr>
      <vt:lpstr>20_Drofa</vt:lpstr>
      <vt:lpstr>1_Тема Office</vt:lpstr>
      <vt:lpstr>2_Шаблон презентации 3х4</vt:lpstr>
      <vt:lpstr>28_Шаблон презентации РУ 16х9 новый</vt:lpstr>
      <vt:lpstr>30_Шаблон презентации РУ 16х9 новый</vt:lpstr>
      <vt:lpstr>think-cell Slide</vt:lpstr>
      <vt:lpstr>«Содержание и методический аппарат УМК по биологии для достижения новых образовательных результатов»  </vt:lpstr>
      <vt:lpstr>Слайд 2</vt:lpstr>
      <vt:lpstr>Учебники рекомендуемые  к использованию при реализации образовательной части основной образовательной программы</vt:lpstr>
      <vt:lpstr>ТЕКУЩИЙ ПОРТФЕЛЬ КОРПОРАЦИИ «РОССИЙСКИЙ УЧЕБНИК»  ПО БИОЛОГИИ, ДОСТУПНЫЙ ДЛЯ ЗАКУПКИ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 Линия УМК  по биологии для  5-9 классов  (концентрический курс) В. И. Сивоглазов и др. (1.2.5.2.5.1-1.2.5.2.5.5) </vt:lpstr>
      <vt:lpstr>Слайд 16</vt:lpstr>
      <vt:lpstr>Слайд 17</vt:lpstr>
      <vt:lpstr>ФПУ  от 28.12.2019г. № 345 Экология (1.3.6.2) стр. 83</vt:lpstr>
      <vt:lpstr>  Приказ МИНПРОСВЕЩЕНИЯ России от 28.12.2018 № 345 "О федеральном перечне учебников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" ЕСТЕСТВОЗНАНИЕ 10-11 (1.3.5.8) стр. 83 </vt:lpstr>
      <vt:lpstr>ФПУ  от 28.12.2019г. № 345 ЕСТЕСТВОЗНАНИЕ 10-11 (1.3.5.8) стр. 83 </vt:lpstr>
      <vt:lpstr>Слайд 21</vt:lpstr>
      <vt:lpstr>Учебники рекомендуемые  к использованию при реализации части основной образовательной программы, формируемой участниками  образовательных отношений. Учебные курсы , обеспечивающие образовательные потребности обучающихся, курсы по выбору </vt:lpstr>
      <vt:lpstr> Учебные курсы , обеспечивающие образовательные потребности обучающихся, курсы по выбору (2.2.6.1.7.2) ООО «Дрофа» «Введение в естественно-научные предметы» Пакулова В.М. , Иванова Н.В. </vt:lpstr>
      <vt:lpstr>Учебные курсы , обеспечивающие образовательные потребности обучающихся, курсы по выбору (2.2.6.1.7.1)  ООО «Дрофа» «Введение в естественно-научные предметы»  Гуревич А.В., Исаев Д.А., Понтак Т.С. </vt:lpstr>
      <vt:lpstr>Учебные курсы , обеспечивающие образовательные потребности обучающихся, курсы по выбору (2.2.6.1.7.3) ООО «Дрофа» «Введение в естественно-научные предметы»  Пакулова А.А., Сонин Н.И.</vt:lpstr>
      <vt:lpstr>Учебники, прошедшие все необходимые экспертизы, поданные в 2018 году в МИНИСТЕРСТВО ПРОСВЕЩЕНИЯ и ожидающие включения в ФПУ   </vt:lpstr>
      <vt:lpstr>УМК  по биологии корпорации  «Российский учебник»</vt:lpstr>
      <vt:lpstr>Слайд 28</vt:lpstr>
      <vt:lpstr>МЫ БОЛЬШЕ, ЧЕМ ИЗДАТЕЛЬСТВО УЧЕБНОЙ ЛИТЕРАТУРЫ! 4 ПРИЧИНЫ РАБОТАТЬ ПО НАШИМ УЧЕБНИКАМ</vt:lpstr>
      <vt:lpstr>LECTA – УНИКАЛЬНАЯ ИНТЕРАКТИВНАЯ  ЦИФРОВАЯ ОБРАЗОВАТЕЛЬНАЯ ПЛАТФОРМА</vt:lpstr>
      <vt:lpstr>Слайд 31</vt:lpstr>
      <vt:lpstr>НАДЕЖНАЯ ОСНОВА ЦИФРОВОЙ ШКОЛЫ:  ПРОСТЫЕ РЕШЕНИЯ СЛОЖНЫХ ЗАДАЧ</vt:lpstr>
      <vt:lpstr>РЕГИСТРИРУЙТЕСЬ НА САЙТЕ ROSUCHEBNIK.RU И ПОЛЬЗУЙТЕСЬ ПРЕИМУЩЕСТВАМИ ЛИЧНОГО КАБИНЕТА</vt:lpstr>
      <vt:lpstr>Слайд 34</vt:lpstr>
      <vt:lpstr>Новая форма привычных вещей</vt:lpstr>
      <vt:lpstr>Соответствие ЭФУ объединенной издательской группы требованиям приказа МОиН РФ №870</vt:lpstr>
      <vt:lpstr>СанПин рекомендует.  СанПиН 2.4.2.2821-10. Постановление Главного государственного санитарного врача Российской Федерации от 29 декабря 2010 г. (с изменениями от 24.11.2015)</vt:lpstr>
      <vt:lpstr>LECTA еще вчера… </vt:lpstr>
      <vt:lpstr>Слайд 39</vt:lpstr>
      <vt:lpstr>Условные обозначения для навигации ЭФУ</vt:lpstr>
      <vt:lpstr>ЭФУ - простая навигация: интерактивное оглавление </vt:lpstr>
      <vt:lpstr>ЭФУ- простая навигация: поиск страницы бумажного учебника </vt:lpstr>
      <vt:lpstr>ЭФУ - простая навигация: «Закладки» </vt:lpstr>
      <vt:lpstr> ЭФУ - простая навигация: «Заметки» </vt:lpstr>
      <vt:lpstr>Электронные тренажеры</vt:lpstr>
      <vt:lpstr>Электронные тренажеры Инструкция к выполнению тестов</vt:lpstr>
      <vt:lpstr>  </vt:lpstr>
      <vt:lpstr>Сборники заданий для подготовки к ЕГЭ и ОГЭ</vt:lpstr>
      <vt:lpstr>LECTA сегодня</vt:lpstr>
      <vt:lpstr>Активация кода  семинара</vt:lpstr>
      <vt:lpstr>Бесплатный доступ  к 5 любым ЭФУ на платформе</vt:lpstr>
      <vt:lpstr>Слайд 52</vt:lpstr>
      <vt:lpstr>Код активации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User</cp:lastModifiedBy>
  <cp:revision>918</cp:revision>
  <cp:lastPrinted>2019-02-12T18:51:53Z</cp:lastPrinted>
  <dcterms:created xsi:type="dcterms:W3CDTF">2019-01-24T10:53:01Z</dcterms:created>
  <dcterms:modified xsi:type="dcterms:W3CDTF">2019-04-26T03:30:11Z</dcterms:modified>
</cp:coreProperties>
</file>